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notesSlides/notesSlide11.xml" ContentType="application/vnd.openxmlformats-officedocument.presentationml.notesSlide+xml"/>
  <Override PartName="/ppt/slideMasters/slideMaster7.xml" ContentType="application/vnd.openxmlformats-officedocument.presentationml.slideMaster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696" r:id="rId2"/>
    <p:sldMasterId id="2147483733" r:id="rId3"/>
    <p:sldMasterId id="2147483735" r:id="rId4"/>
    <p:sldMasterId id="2147483738" r:id="rId5"/>
    <p:sldMasterId id="2147483742" r:id="rId6"/>
    <p:sldMasterId id="2147483740" r:id="rId7"/>
  </p:sldMasterIdLst>
  <p:notesMasterIdLst>
    <p:notesMasterId r:id="rId36"/>
  </p:notesMasterIdLst>
  <p:handoutMasterIdLst>
    <p:handoutMasterId r:id="rId37"/>
  </p:handoutMasterIdLst>
  <p:sldIdLst>
    <p:sldId id="257" r:id="rId8"/>
    <p:sldId id="407" r:id="rId9"/>
    <p:sldId id="294" r:id="rId10"/>
    <p:sldId id="330" r:id="rId11"/>
    <p:sldId id="375" r:id="rId12"/>
    <p:sldId id="406" r:id="rId13"/>
    <p:sldId id="413" r:id="rId14"/>
    <p:sldId id="339" r:id="rId15"/>
    <p:sldId id="412" r:id="rId16"/>
    <p:sldId id="389" r:id="rId17"/>
    <p:sldId id="424" r:id="rId18"/>
    <p:sldId id="385" r:id="rId19"/>
    <p:sldId id="426" r:id="rId20"/>
    <p:sldId id="411" r:id="rId21"/>
    <p:sldId id="427" r:id="rId22"/>
    <p:sldId id="421" r:id="rId23"/>
    <p:sldId id="417" r:id="rId24"/>
    <p:sldId id="418" r:id="rId25"/>
    <p:sldId id="419" r:id="rId26"/>
    <p:sldId id="400" r:id="rId27"/>
    <p:sldId id="425" r:id="rId28"/>
    <p:sldId id="365" r:id="rId29"/>
    <p:sldId id="401" r:id="rId30"/>
    <p:sldId id="367" r:id="rId31"/>
    <p:sldId id="423" r:id="rId32"/>
    <p:sldId id="422" r:id="rId33"/>
    <p:sldId id="372" r:id="rId34"/>
    <p:sldId id="373" r:id="rId3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8">
          <p15:clr>
            <a:srgbClr val="A4A3A4"/>
          </p15:clr>
        </p15:guide>
        <p15:guide id="2" orient="horz" pos="4247">
          <p15:clr>
            <a:srgbClr val="A4A3A4"/>
          </p15:clr>
        </p15:guide>
        <p15:guide id="3" orient="horz" pos="800">
          <p15:clr>
            <a:srgbClr val="A4A3A4"/>
          </p15:clr>
        </p15:guide>
        <p15:guide id="4" orient="horz" pos="1005">
          <p15:clr>
            <a:srgbClr val="A4A3A4"/>
          </p15:clr>
        </p15:guide>
        <p15:guide id="5" pos="204">
          <p15:clr>
            <a:srgbClr val="A4A3A4"/>
          </p15:clr>
        </p15:guide>
        <p15:guide id="6" pos="5759">
          <p15:clr>
            <a:srgbClr val="A4A3A4"/>
          </p15:clr>
        </p15:guide>
        <p15:guide id="7" orient="horz" pos="4156">
          <p15:clr>
            <a:srgbClr val="A4A3A4"/>
          </p15:clr>
        </p15:guide>
        <p15:guide id="8" orient="horz" pos="534">
          <p15:clr>
            <a:srgbClr val="A4A3A4"/>
          </p15:clr>
        </p15:guide>
        <p15:guide id="9" orient="horz" pos="869">
          <p15:clr>
            <a:srgbClr val="A4A3A4"/>
          </p15:clr>
        </p15:guide>
        <p15:guide id="10" orient="horz" pos="3929">
          <p15:clr>
            <a:srgbClr val="A4A3A4"/>
          </p15:clr>
        </p15:guide>
        <p15:guide id="11" pos="1973">
          <p15:clr>
            <a:srgbClr val="A4A3A4"/>
          </p15:clr>
        </p15:guide>
        <p15:guide id="12" pos="249">
          <p15:clr>
            <a:srgbClr val="A4A3A4"/>
          </p15:clr>
        </p15:guide>
        <p15:guide id="13" pos="1519">
          <p15:clr>
            <a:srgbClr val="A4A3A4"/>
          </p15:clr>
        </p15:guide>
        <p15:guide id="14" orient="horz" pos="3772">
          <p15:clr>
            <a:srgbClr val="A4A3A4"/>
          </p15:clr>
        </p15:guide>
        <p15:guide id="15" orient="horz" pos="171">
          <p15:clr>
            <a:srgbClr val="A4A3A4"/>
          </p15:clr>
        </p15:guide>
        <p15:guide id="16" orient="horz" pos="754">
          <p15:clr>
            <a:srgbClr val="A4A3A4"/>
          </p15:clr>
        </p15:guide>
        <p15:guide id="17" orient="horz" pos="1777">
          <p15:clr>
            <a:srgbClr val="A4A3A4"/>
          </p15:clr>
        </p15:guide>
        <p15:guide id="18" pos="158">
          <p15:clr>
            <a:srgbClr val="A4A3A4"/>
          </p15:clr>
        </p15:guide>
        <p15:guide id="19" pos="5623">
          <p15:clr>
            <a:srgbClr val="A4A3A4"/>
          </p15:clr>
        </p15:guide>
        <p15:guide id="20" pos="839">
          <p15:clr>
            <a:srgbClr val="A4A3A4"/>
          </p15:clr>
        </p15:guide>
        <p15:guide id="21" pos="477">
          <p15:clr>
            <a:srgbClr val="A4A3A4"/>
          </p15:clr>
        </p15:guide>
        <p15:guide id="22" pos="657">
          <p15:clr>
            <a:srgbClr val="A4A3A4"/>
          </p15:clr>
        </p15:guide>
        <p15:guide id="23" orient="horz" pos="4292">
          <p15:clr>
            <a:srgbClr val="A4A3A4"/>
          </p15:clr>
        </p15:guide>
        <p15:guide id="24" orient="horz" pos="1096">
          <p15:clr>
            <a:srgbClr val="A4A3A4"/>
          </p15:clr>
        </p15:guide>
        <p15:guide id="25" orient="horz" pos="216">
          <p15:clr>
            <a:srgbClr val="A4A3A4"/>
          </p15:clr>
        </p15:guide>
        <p15:guide id="26" orient="horz" pos="3793">
          <p15:clr>
            <a:srgbClr val="A4A3A4"/>
          </p15:clr>
        </p15:guide>
        <p15:guide id="27" orient="horz" pos="1686">
          <p15:clr>
            <a:srgbClr val="A4A3A4"/>
          </p15:clr>
        </p15:guide>
        <p15:guide id="28" pos="5616">
          <p15:clr>
            <a:srgbClr val="A4A3A4"/>
          </p15:clr>
        </p15:guide>
        <p15:guide id="29" pos="885">
          <p15:clr>
            <a:srgbClr val="A4A3A4"/>
          </p15:clr>
        </p15:guide>
        <p15:guide id="30" pos="133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32C50"/>
    <a:srgbClr val="82AE19"/>
    <a:srgbClr val="37ACC0"/>
    <a:srgbClr val="D0D8E8"/>
    <a:srgbClr val="558ED5"/>
    <a:srgbClr val="C2D992"/>
    <a:srgbClr val="AFAFAF"/>
    <a:srgbClr val="CBD400"/>
    <a:srgbClr val="EC6E1F"/>
    <a:srgbClr val="7E9ED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039" autoAdjust="0"/>
    <p:restoredTop sz="94084" autoAdjust="0"/>
  </p:normalViewPr>
  <p:slideViewPr>
    <p:cSldViewPr>
      <p:cViewPr varScale="1">
        <p:scale>
          <a:sx n="109" d="100"/>
          <a:sy n="109" d="100"/>
        </p:scale>
        <p:origin x="-1674" y="-90"/>
      </p:cViewPr>
      <p:guideLst>
        <p:guide orient="horz" pos="68"/>
        <p:guide orient="horz" pos="4247"/>
        <p:guide orient="horz" pos="800"/>
        <p:guide orient="horz" pos="1005"/>
        <p:guide orient="horz" pos="4156"/>
        <p:guide orient="horz" pos="534"/>
        <p:guide orient="horz" pos="869"/>
        <p:guide orient="horz" pos="3929"/>
        <p:guide orient="horz" pos="3772"/>
        <p:guide orient="horz" pos="171"/>
        <p:guide orient="horz" pos="754"/>
        <p:guide orient="horz" pos="1777"/>
        <p:guide orient="horz" pos="4292"/>
        <p:guide orient="horz" pos="1096"/>
        <p:guide orient="horz" pos="216"/>
        <p:guide orient="horz" pos="3793"/>
        <p:guide orient="horz" pos="1686"/>
        <p:guide pos="204"/>
        <p:guide pos="5759"/>
        <p:guide pos="1973"/>
        <p:guide pos="249"/>
        <p:guide pos="1519"/>
        <p:guide pos="158"/>
        <p:guide pos="5623"/>
        <p:guide pos="839"/>
        <p:guide pos="477"/>
        <p:guide pos="657"/>
        <p:guide pos="5616"/>
        <p:guide pos="885"/>
        <p:guide pos="13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CC4CDC-D19B-804A-962C-70D58F61020D}" type="datetimeFigureOut">
              <a:rPr lang="en-US" smtClean="0"/>
              <a:pPr/>
              <a:t>10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6A9C05-478F-B64E-9374-2D4CC67340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979781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EE6DF5-A96C-404A-BC84-24B11A3E9E7F}" type="datetimeFigureOut">
              <a:rPr lang="en-GB" smtClean="0"/>
              <a:pPr/>
              <a:t>15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E9379A-2694-4245-B941-7EBB2C54757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8785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>
              <a:spcBef>
                <a:spcPct val="0"/>
              </a:spcBef>
              <a:buSzPct val="45000"/>
              <a:buFont typeface="Wingdings" pitchFamily="2" charset="2"/>
              <a:buNone/>
            </a:pPr>
            <a:fld id="{64812811-7984-4625-AA8A-F34FDD9FCDA2}" type="slidenum">
              <a:rPr lang="en-GB" altLang="en-US" sz="1400" smtClean="0"/>
              <a:pPr eaLnBrk="1">
                <a:spcBef>
                  <a:spcPct val="0"/>
                </a:spcBef>
                <a:buSzPct val="45000"/>
                <a:buFont typeface="Wingdings" pitchFamily="2" charset="2"/>
                <a:buNone/>
              </a:pPr>
              <a:t>1</a:t>
            </a:fld>
            <a:endParaRPr lang="en-GB" alt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xmlns="" val="17120116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. After </a:t>
            </a:r>
            <a:r>
              <a:rPr lang="en-GB" dirty="0"/>
              <a:t>a period of constant growth since FY10, CSIR’s income has begun to decrease rapidly from FY16 to </a:t>
            </a:r>
            <a:r>
              <a:rPr lang="en-GB" dirty="0" smtClean="0"/>
              <a:t>FY18. </a:t>
            </a:r>
          </a:p>
          <a:p>
            <a:endParaRPr lang="en-GB" dirty="0"/>
          </a:p>
          <a:p>
            <a:pPr marL="124460" indent="-12446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Total income exhibited constant growth between FY10 and FY16 of 2%</a:t>
            </a:r>
            <a:r>
              <a:rPr lang="en-GB" baseline="30000" dirty="0">
                <a:solidFill>
                  <a:schemeClr val="tx2"/>
                </a:solidFill>
              </a:rPr>
              <a:t>1</a:t>
            </a:r>
            <a:r>
              <a:rPr lang="en-GB" dirty="0">
                <a:solidFill>
                  <a:schemeClr val="tx2"/>
                </a:solidFill>
              </a:rPr>
              <a:t> CAGR</a:t>
            </a:r>
          </a:p>
          <a:p>
            <a:pPr marL="21336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</a:pPr>
            <a:r>
              <a:rPr lang="en-GB" dirty="0">
                <a:solidFill>
                  <a:schemeClr val="tx2"/>
                </a:solidFill>
              </a:rPr>
              <a:t>This was largely driven by an increase in public sector income, despite decreasing income from private sector, international sources, the parliamentary grant as well as licensing and royalties</a:t>
            </a:r>
          </a:p>
          <a:p>
            <a:pPr marL="10668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Total income declined significantly between FY16 and FY18 of -8%</a:t>
            </a:r>
            <a:r>
              <a:rPr lang="en-GB" baseline="30000" dirty="0">
                <a:solidFill>
                  <a:schemeClr val="tx2"/>
                </a:solidFill>
              </a:rPr>
              <a:t>1</a:t>
            </a:r>
            <a:r>
              <a:rPr lang="en-GB" dirty="0">
                <a:solidFill>
                  <a:schemeClr val="tx2"/>
                </a:solidFill>
              </a:rPr>
              <a:t> CAGR</a:t>
            </a:r>
          </a:p>
          <a:p>
            <a:pPr marL="21336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</a:pPr>
            <a:r>
              <a:rPr lang="en-GB" dirty="0">
                <a:solidFill>
                  <a:schemeClr val="tx2"/>
                </a:solidFill>
              </a:rPr>
              <a:t>Income decreased significantly from the public sector as a result of several factors, including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Declining spend from the South African public sector on science and technology activities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The redirection of National Expenditure to higher education institutions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Increased legislative constraints on CSIR (and other SOEs</a:t>
            </a:r>
            <a:r>
              <a:rPr lang="en-GB" baseline="30000" dirty="0">
                <a:solidFill>
                  <a:schemeClr val="tx2"/>
                </a:solidFill>
              </a:rPr>
              <a:t>2</a:t>
            </a:r>
            <a:r>
              <a:rPr lang="en-GB" dirty="0">
                <a:solidFill>
                  <a:schemeClr val="tx2"/>
                </a:solidFill>
              </a:rPr>
              <a:t>), hampering its ability to strategically secure public sector contracts, without the need to award such contracts through public tendering processes</a:t>
            </a:r>
          </a:p>
          <a:p>
            <a:pPr marL="213360" lvl="0" indent="-106680" defTabSz="4572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GB" dirty="0">
                <a:solidFill>
                  <a:schemeClr val="tx2"/>
                </a:solidFill>
              </a:rPr>
              <a:t>The decrease in income was driven by a further reduction in income from licensing and royalties, a marginal decrease from the private sector</a:t>
            </a:r>
          </a:p>
          <a:p>
            <a:pPr marL="213360" lvl="0" indent="-106680" defTabSz="4572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GB" dirty="0">
                <a:solidFill>
                  <a:schemeClr val="tx2"/>
                </a:solidFill>
              </a:rPr>
              <a:t>Despite a reduction in total income, international income exhibited positive growth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GB" smtClean="0">
                <a:solidFill>
                  <a:prstClr val="black"/>
                </a:solidFill>
              </a:rPr>
              <a:pPr/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73710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21913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95765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>
              <a:spcBef>
                <a:spcPct val="0"/>
              </a:spcBef>
              <a:buSzPct val="45000"/>
              <a:buFont typeface="Wingdings" pitchFamily="2" charset="2"/>
              <a:buNone/>
            </a:pPr>
            <a:fld id="{64812811-7984-4625-AA8A-F34FDD9FCDA2}" type="slidenum">
              <a:rPr lang="en-GB" altLang="en-US" sz="1400" smtClean="0"/>
              <a:pPr eaLnBrk="1">
                <a:spcBef>
                  <a:spcPct val="0"/>
                </a:spcBef>
                <a:buSzPct val="45000"/>
                <a:buFont typeface="Wingdings" pitchFamily="2" charset="2"/>
                <a:buNone/>
              </a:pPr>
              <a:t>28</a:t>
            </a:fld>
            <a:endParaRPr lang="en-GB" alt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xmlns="" val="2617177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>
              <a:spcBef>
                <a:spcPct val="0"/>
              </a:spcBef>
              <a:buSzPct val="45000"/>
              <a:buFont typeface="Wingdings" pitchFamily="2" charset="2"/>
              <a:buNone/>
            </a:pPr>
            <a:fld id="{64812811-7984-4625-AA8A-F34FDD9FCDA2}" type="slidenum">
              <a:rPr lang="en-GB" altLang="en-US" sz="1400" smtClean="0"/>
              <a:pPr eaLnBrk="1">
                <a:spcBef>
                  <a:spcPct val="0"/>
                </a:spcBef>
                <a:buSzPct val="45000"/>
                <a:buFont typeface="Wingdings" pitchFamily="2" charset="2"/>
                <a:buNone/>
              </a:pPr>
              <a:t>8</a:t>
            </a:fld>
            <a:endParaRPr lang="en-GB" alt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xmlns="" val="419567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. After </a:t>
            </a:r>
            <a:r>
              <a:rPr lang="en-GB" dirty="0"/>
              <a:t>a period of constant growth since FY10, CSIR’s income has begun to decrease rapidly from FY16 to </a:t>
            </a:r>
            <a:r>
              <a:rPr lang="en-GB" dirty="0" smtClean="0"/>
              <a:t>FY18. </a:t>
            </a:r>
          </a:p>
          <a:p>
            <a:endParaRPr lang="en-GB" dirty="0"/>
          </a:p>
          <a:p>
            <a:pPr marL="124460" indent="-12446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Total income exhibited constant growth between FY10 and FY16 of 2%</a:t>
            </a:r>
            <a:r>
              <a:rPr lang="en-GB" baseline="30000" dirty="0">
                <a:solidFill>
                  <a:schemeClr val="tx2"/>
                </a:solidFill>
              </a:rPr>
              <a:t>1</a:t>
            </a:r>
            <a:r>
              <a:rPr lang="en-GB" dirty="0">
                <a:solidFill>
                  <a:schemeClr val="tx2"/>
                </a:solidFill>
              </a:rPr>
              <a:t> CAGR</a:t>
            </a:r>
          </a:p>
          <a:p>
            <a:pPr marL="21336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</a:pPr>
            <a:r>
              <a:rPr lang="en-GB" dirty="0">
                <a:solidFill>
                  <a:schemeClr val="tx2"/>
                </a:solidFill>
              </a:rPr>
              <a:t>This was largely driven by an increase in public sector income, despite decreasing income from private sector, international sources, the parliamentary grant as well as licensing and royalties</a:t>
            </a:r>
          </a:p>
          <a:p>
            <a:pPr marL="10668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Total income declined significantly between FY16 and FY18 of -8%</a:t>
            </a:r>
            <a:r>
              <a:rPr lang="en-GB" baseline="30000" dirty="0">
                <a:solidFill>
                  <a:schemeClr val="tx2"/>
                </a:solidFill>
              </a:rPr>
              <a:t>1</a:t>
            </a:r>
            <a:r>
              <a:rPr lang="en-GB" dirty="0">
                <a:solidFill>
                  <a:schemeClr val="tx2"/>
                </a:solidFill>
              </a:rPr>
              <a:t> CAGR</a:t>
            </a:r>
          </a:p>
          <a:p>
            <a:pPr marL="21336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</a:pPr>
            <a:r>
              <a:rPr lang="en-GB" dirty="0">
                <a:solidFill>
                  <a:schemeClr val="tx2"/>
                </a:solidFill>
              </a:rPr>
              <a:t>Income decreased significantly from the public sector as a result of several factors, including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Declining spend from the South African public sector on science and technology activities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The redirection of National Expenditure to higher education institutions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Increased legislative constraints on CSIR (and other SOEs</a:t>
            </a:r>
            <a:r>
              <a:rPr lang="en-GB" baseline="30000" dirty="0">
                <a:solidFill>
                  <a:schemeClr val="tx2"/>
                </a:solidFill>
              </a:rPr>
              <a:t>2</a:t>
            </a:r>
            <a:r>
              <a:rPr lang="en-GB" dirty="0">
                <a:solidFill>
                  <a:schemeClr val="tx2"/>
                </a:solidFill>
              </a:rPr>
              <a:t>), hampering its ability to strategically secure public sector contracts, without the need to award such contracts through public tendering processes</a:t>
            </a:r>
          </a:p>
          <a:p>
            <a:pPr marL="213360" lvl="0" indent="-106680" defTabSz="4572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GB" dirty="0">
                <a:solidFill>
                  <a:schemeClr val="tx2"/>
                </a:solidFill>
              </a:rPr>
              <a:t>The decrease in income was driven by a further reduction in income from licensing and royalties, a marginal decrease from the private sector</a:t>
            </a:r>
          </a:p>
          <a:p>
            <a:pPr marL="213360" lvl="0" indent="-106680" defTabSz="4572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GB" dirty="0">
                <a:solidFill>
                  <a:schemeClr val="tx2"/>
                </a:solidFill>
              </a:rPr>
              <a:t>Despite a reduction in total income, international income exhibited positive growth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6750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84CE1F-F148-5A4E-B433-793A58EE882E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9373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. After </a:t>
            </a:r>
            <a:r>
              <a:rPr lang="en-GB" dirty="0"/>
              <a:t>a period of constant growth since FY10, CSIR’s income has begun to decrease rapidly from FY16 to </a:t>
            </a:r>
            <a:r>
              <a:rPr lang="en-GB" dirty="0" smtClean="0"/>
              <a:t>FY18. </a:t>
            </a:r>
          </a:p>
          <a:p>
            <a:endParaRPr lang="en-GB" dirty="0"/>
          </a:p>
          <a:p>
            <a:pPr marL="124460" indent="-12446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Total income exhibited constant growth between FY10 and FY16 of 2%</a:t>
            </a:r>
            <a:r>
              <a:rPr lang="en-GB" baseline="30000" dirty="0">
                <a:solidFill>
                  <a:schemeClr val="tx2"/>
                </a:solidFill>
              </a:rPr>
              <a:t>1</a:t>
            </a:r>
            <a:r>
              <a:rPr lang="en-GB" dirty="0">
                <a:solidFill>
                  <a:schemeClr val="tx2"/>
                </a:solidFill>
              </a:rPr>
              <a:t> CAGR</a:t>
            </a:r>
          </a:p>
          <a:p>
            <a:pPr marL="21336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</a:pPr>
            <a:r>
              <a:rPr lang="en-GB" dirty="0">
                <a:solidFill>
                  <a:schemeClr val="tx2"/>
                </a:solidFill>
              </a:rPr>
              <a:t>This was largely driven by an increase in public sector income, despite decreasing income from private sector, international sources, the parliamentary grant as well as licensing and royalties</a:t>
            </a:r>
          </a:p>
          <a:p>
            <a:pPr marL="10668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Total income declined significantly between FY16 and FY18 of -8%</a:t>
            </a:r>
            <a:r>
              <a:rPr lang="en-GB" baseline="30000" dirty="0">
                <a:solidFill>
                  <a:schemeClr val="tx2"/>
                </a:solidFill>
              </a:rPr>
              <a:t>1</a:t>
            </a:r>
            <a:r>
              <a:rPr lang="en-GB" dirty="0">
                <a:solidFill>
                  <a:schemeClr val="tx2"/>
                </a:solidFill>
              </a:rPr>
              <a:t> CAGR</a:t>
            </a:r>
          </a:p>
          <a:p>
            <a:pPr marL="21336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</a:pPr>
            <a:r>
              <a:rPr lang="en-GB" dirty="0">
                <a:solidFill>
                  <a:schemeClr val="tx2"/>
                </a:solidFill>
              </a:rPr>
              <a:t>Income decreased significantly from the public sector as a result of several factors, including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Declining spend from the South African public sector on science and technology activities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The redirection of National Expenditure to higher education institutions</a:t>
            </a:r>
          </a:p>
          <a:p>
            <a:pPr marL="320040" indent="-10668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</a:pPr>
            <a:r>
              <a:rPr lang="en-GB" dirty="0">
                <a:solidFill>
                  <a:schemeClr val="tx2"/>
                </a:solidFill>
              </a:rPr>
              <a:t>Increased legislative constraints on CSIR (and other SOEs</a:t>
            </a:r>
            <a:r>
              <a:rPr lang="en-GB" baseline="30000" dirty="0">
                <a:solidFill>
                  <a:schemeClr val="tx2"/>
                </a:solidFill>
              </a:rPr>
              <a:t>2</a:t>
            </a:r>
            <a:r>
              <a:rPr lang="en-GB" dirty="0">
                <a:solidFill>
                  <a:schemeClr val="tx2"/>
                </a:solidFill>
              </a:rPr>
              <a:t>), hampering its ability to strategically secure public sector contracts, without the need to award such contracts through public tendering processes</a:t>
            </a:r>
          </a:p>
          <a:p>
            <a:pPr marL="213360" lvl="0" indent="-106680" defTabSz="4572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GB" dirty="0">
                <a:solidFill>
                  <a:schemeClr val="tx2"/>
                </a:solidFill>
              </a:rPr>
              <a:t>The decrease in income was driven by a further reduction in income from licensing and royalties, a marginal decrease from the private sector</a:t>
            </a:r>
          </a:p>
          <a:p>
            <a:pPr marL="213360" lvl="0" indent="-106680" defTabSz="45720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GB" dirty="0">
                <a:solidFill>
                  <a:schemeClr val="tx2"/>
                </a:solidFill>
              </a:rPr>
              <a:t>Despite a reduction in total income, international income exhibited positive growth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67505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>
              <a:spcBef>
                <a:spcPct val="0"/>
              </a:spcBef>
              <a:buSzPct val="45000"/>
              <a:buFont typeface="Wingdings" pitchFamily="2" charset="2"/>
              <a:buNone/>
            </a:pPr>
            <a:fld id="{64812811-7984-4625-AA8A-F34FDD9FCDA2}" type="slidenum">
              <a:rPr lang="en-GB" altLang="en-US" sz="1400" smtClean="0"/>
              <a:pPr eaLnBrk="1">
                <a:spcBef>
                  <a:spcPct val="0"/>
                </a:spcBef>
                <a:buSzPct val="45000"/>
                <a:buFont typeface="Wingdings" pitchFamily="2" charset="2"/>
                <a:buNone/>
              </a:pPr>
              <a:t>12</a:t>
            </a:fld>
            <a:endParaRPr lang="en-GB" alt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xmlns="" val="27798806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E9379A-2694-4245-B941-7EBB2C547576}" type="slidenum">
              <a:rPr lang="en-GB" smtClean="0">
                <a:solidFill>
                  <a:prstClr val="black"/>
                </a:solidFill>
              </a:rPr>
              <a:pPr/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310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E9379A-2694-4245-B941-7EBB2C547576}" type="slidenum">
              <a:rPr lang="en-GB" smtClean="0">
                <a:solidFill>
                  <a:prstClr val="black"/>
                </a:solidFill>
              </a:rPr>
              <a:pPr/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3280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E9379A-2694-4245-B941-7EBB2C547576}" type="slidenum">
              <a:rPr lang="en-GB" smtClean="0">
                <a:solidFill>
                  <a:prstClr val="black"/>
                </a:solidFill>
              </a:rPr>
              <a:pPr/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0766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23105" y="1611347"/>
            <a:ext cx="8243045" cy="439261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1275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23850" y="1595438"/>
            <a:ext cx="8242300" cy="4570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24932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23850" y="1595438"/>
            <a:ext cx="8242300" cy="4570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15935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23850" y="1595438"/>
            <a:ext cx="8242300" cy="4570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69065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23850" y="1595438"/>
            <a:ext cx="8242300" cy="4570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23138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23850" y="1595438"/>
            <a:ext cx="8242300" cy="4570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2942905" y="6525344"/>
            <a:ext cx="3258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 defTabSz="457200"/>
            <a:r>
              <a:rPr lang="en-ZA" sz="1400" b="1" dirty="0">
                <a:solidFill>
                  <a:srgbClr val="032C50">
                    <a:alpha val="3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0" name="Round Single Corner Rectangle 9"/>
          <p:cNvSpPr/>
          <p:nvPr userDrawn="1"/>
        </p:nvSpPr>
        <p:spPr>
          <a:xfrm>
            <a:off x="0" y="6319587"/>
            <a:ext cx="405312" cy="303975"/>
          </a:xfrm>
          <a:prstGeom prst="round1Rect">
            <a:avLst/>
          </a:prstGeom>
          <a:solidFill>
            <a:srgbClr val="C2D9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200"/>
            <a:fld id="{4C442E1A-0A36-D444-A382-4BFFB3F700AD}" type="slidenum">
              <a:rPr lang="en-US" sz="1100" b="1">
                <a:solidFill>
                  <a:srgbClr val="032C50"/>
                </a:solidFill>
                <a:latin typeface="Arial"/>
                <a:cs typeface="Arial"/>
              </a:rPr>
              <a:pPr algn="r" defTabSz="457200"/>
              <a:t>‹#›</a:t>
            </a:fld>
            <a:endParaRPr lang="en-US" sz="1100" b="1" dirty="0">
              <a:solidFill>
                <a:srgbClr val="032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4576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850" y="1772816"/>
            <a:ext cx="8229600" cy="1143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934401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928534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928534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29591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1E654-5610-9A44-9631-C357F46BED9E}" type="datetimeFigureOut">
              <a:rPr lang="en-US" smtClean="0"/>
              <a:pPr/>
              <a:t>10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113B7-3D7C-FA46-B02E-42D0329549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65444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23850" y="1595438"/>
            <a:ext cx="8242300" cy="4570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91411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36512" y="-27384"/>
            <a:ext cx="9217024" cy="6912768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385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2385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676456" y="6453336"/>
            <a:ext cx="586408" cy="3130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457200">
              <a:defRPr/>
            </a:pPr>
            <a:endParaRPr lang="en-GB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942905" y="6525344"/>
            <a:ext cx="32581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 defTabSz="457200"/>
            <a:r>
              <a:rPr lang="en-ZA" sz="1050" b="0" dirty="0">
                <a:solidFill>
                  <a:srgbClr val="032C50">
                    <a:alpha val="3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Oval 2"/>
          <p:cNvSpPr/>
          <p:nvPr userDrawn="1"/>
        </p:nvSpPr>
        <p:spPr>
          <a:xfrm>
            <a:off x="107504" y="6309320"/>
            <a:ext cx="504056" cy="504056"/>
          </a:xfrm>
          <a:prstGeom prst="ellipse">
            <a:avLst/>
          </a:prstGeom>
          <a:solidFill>
            <a:srgbClr val="37A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7A8A3E67-087E-144A-94E0-17DD5544B23F}" type="slidenum">
              <a:rPr lang="en-US" sz="1100" b="1" smtClean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pPr algn="ctr"/>
              <a:t>‹#›</a:t>
            </a:fld>
            <a:endParaRPr lang="en-US" sz="11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9405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4" r:id="rId2"/>
    <p:sldLayoutId id="2147483699" r:id="rId3"/>
    <p:sldLayoutId id="2147483695" r:id="rId4"/>
    <p:sldLayoutId id="2147483731" r:id="rId5"/>
    <p:sldLayoutId id="2147483732" r:id="rId6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32C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3850" y="1293523"/>
            <a:ext cx="489622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676456" y="6453336"/>
            <a:ext cx="586408" cy="3130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457200">
              <a:defRPr/>
            </a:pPr>
            <a:endParaRPr lang="en-GB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2942905" y="6525344"/>
            <a:ext cx="3258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 defTabSz="457200"/>
            <a:r>
              <a:rPr lang="en-ZA" sz="1400" b="1" dirty="0">
                <a:solidFill>
                  <a:srgbClr val="032C50">
                    <a:alpha val="3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xmlns="" val="963267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rgbClr val="032C50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32C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E1E654-5610-9A44-9631-C357F46BED9E}" type="datetimeFigureOut">
              <a:rPr lang="en-US" smtClean="0"/>
              <a:pPr/>
              <a:t>10/1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6113B7-3D7C-FA46-B02E-42D03295492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slide divider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107504" y="6309320"/>
            <a:ext cx="504056" cy="504056"/>
          </a:xfrm>
          <a:prstGeom prst="ellipse">
            <a:avLst/>
          </a:prstGeom>
          <a:solidFill>
            <a:srgbClr val="37A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7A8A3E67-087E-144A-94E0-17DD5544B23F}" type="slidenum">
              <a:rPr lang="en-US" sz="1100" b="1" smtClean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pPr algn="ctr"/>
              <a:t>‹#›</a:t>
            </a:fld>
            <a:endParaRPr lang="en-US" sz="11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9019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financials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36512" y="0"/>
            <a:ext cx="9180512" cy="688538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385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2385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676456" y="6453336"/>
            <a:ext cx="586408" cy="3130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457200">
              <a:defRPr/>
            </a:pPr>
            <a:endParaRPr lang="en-GB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942905" y="6525344"/>
            <a:ext cx="32581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 defTabSz="457200"/>
            <a:r>
              <a:rPr lang="en-ZA" sz="1050" b="0" dirty="0">
                <a:solidFill>
                  <a:srgbClr val="032C50">
                    <a:alpha val="3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Oval 2"/>
          <p:cNvSpPr/>
          <p:nvPr userDrawn="1"/>
        </p:nvSpPr>
        <p:spPr>
          <a:xfrm>
            <a:off x="107504" y="6309320"/>
            <a:ext cx="504056" cy="504056"/>
          </a:xfrm>
          <a:prstGeom prst="ellipse">
            <a:avLst/>
          </a:prstGeom>
          <a:solidFill>
            <a:srgbClr val="37A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7A8A3E67-087E-144A-94E0-17DD5544B23F}" type="slidenum">
              <a:rPr lang="en-US" sz="1100" b="1" smtClean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pPr algn="ctr"/>
              <a:t>‹#›</a:t>
            </a:fld>
            <a:endParaRPr lang="en-US" sz="11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3695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32C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36512" y="0"/>
            <a:ext cx="9180512" cy="688538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385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676456" y="6453336"/>
            <a:ext cx="586408" cy="3130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457200">
              <a:defRPr/>
            </a:pPr>
            <a:endParaRPr lang="en-GB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942905" y="6525344"/>
            <a:ext cx="32581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 defTabSz="457200"/>
            <a:r>
              <a:rPr lang="en-ZA" sz="1050" b="0" dirty="0">
                <a:solidFill>
                  <a:srgbClr val="032C50">
                    <a:alpha val="3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Oval 2"/>
          <p:cNvSpPr/>
          <p:nvPr userDrawn="1"/>
        </p:nvSpPr>
        <p:spPr>
          <a:xfrm>
            <a:off x="107504" y="6309320"/>
            <a:ext cx="504056" cy="504056"/>
          </a:xfrm>
          <a:prstGeom prst="ellipse">
            <a:avLst/>
          </a:prstGeom>
          <a:solidFill>
            <a:srgbClr val="37A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7A8A3E67-087E-144A-94E0-17DD5544B23F}" type="slidenum">
              <a:rPr lang="en-US" sz="1100" b="1" smtClean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pPr algn="ctr"/>
              <a:t>‹#›</a:t>
            </a:fld>
            <a:endParaRPr lang="en-US" sz="11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606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32C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36512" y="0"/>
            <a:ext cx="9180512" cy="688538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385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676456" y="6453336"/>
            <a:ext cx="586408" cy="3130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457200">
              <a:defRPr/>
            </a:pPr>
            <a:endParaRPr lang="en-GB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942905" y="6525344"/>
            <a:ext cx="32581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 defTabSz="457200"/>
            <a:r>
              <a:rPr lang="en-ZA" sz="1050" b="0" dirty="0">
                <a:solidFill>
                  <a:srgbClr val="032C50">
                    <a:alpha val="3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22512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32C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financials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36512" y="0"/>
            <a:ext cx="9180512" cy="6885384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2385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2385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8676456" y="6453336"/>
            <a:ext cx="586408" cy="3130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457200">
              <a:defRPr/>
            </a:pPr>
            <a:endParaRPr lang="en-GB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942905" y="6525344"/>
            <a:ext cx="32581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 defTabSz="457200"/>
            <a:r>
              <a:rPr lang="en-ZA" sz="1050" dirty="0">
                <a:solidFill>
                  <a:srgbClr val="032C50">
                    <a:alpha val="3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Oval 2"/>
          <p:cNvSpPr/>
          <p:nvPr userDrawn="1"/>
        </p:nvSpPr>
        <p:spPr>
          <a:xfrm>
            <a:off x="107504" y="6309320"/>
            <a:ext cx="504056" cy="504056"/>
          </a:xfrm>
          <a:prstGeom prst="ellipse">
            <a:avLst/>
          </a:prstGeom>
          <a:solidFill>
            <a:srgbClr val="37A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7A8A3E67-087E-144A-94E0-17DD5544B23F}" type="slidenum">
              <a:rPr lang="en-US" sz="1100" b="1" smtClean="0">
                <a:solidFill>
                  <a:srgbClr val="1F497D">
                    <a:lumMod val="50000"/>
                  </a:srgbClr>
                </a:solidFill>
                <a:latin typeface="Arial"/>
                <a:cs typeface="Arial"/>
              </a:rPr>
              <a:pPr algn="ctr"/>
              <a:t>‹#›</a:t>
            </a:fld>
            <a:endParaRPr lang="en-US" sz="1100" b="1" dirty="0">
              <a:solidFill>
                <a:srgbClr val="1F497D">
                  <a:lumMod val="50000"/>
                </a:srgb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53296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32C50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32C50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32C50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jpeg"/><Relationship Id="rId3" Type="http://schemas.openxmlformats.org/officeDocument/2006/relationships/image" Target="../media/image30.png"/><Relationship Id="rId7" Type="http://schemas.openxmlformats.org/officeDocument/2006/relationships/image" Target="../media/image34.jpeg"/><Relationship Id="rId12" Type="http://schemas.openxmlformats.org/officeDocument/2006/relationships/image" Target="../media/image3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3.jpeg"/><Relationship Id="rId11" Type="http://schemas.openxmlformats.org/officeDocument/2006/relationships/image" Target="../media/image38.png"/><Relationship Id="rId5" Type="http://schemas.openxmlformats.org/officeDocument/2006/relationships/image" Target="../media/image32.jpeg"/><Relationship Id="rId15" Type="http://schemas.openxmlformats.org/officeDocument/2006/relationships/image" Target="../media/image42.png"/><Relationship Id="rId10" Type="http://schemas.openxmlformats.org/officeDocument/2006/relationships/image" Target="../media/image37.jpeg"/><Relationship Id="rId4" Type="http://schemas.openxmlformats.org/officeDocument/2006/relationships/image" Target="../media/image31.jpe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tags" Target="../tags/tag85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38" Type="http://schemas.openxmlformats.org/officeDocument/2006/relationships/tags" Target="../tags/tag139.xml"/><Relationship Id="rId16" Type="http://schemas.openxmlformats.org/officeDocument/2006/relationships/tags" Target="../tags/tag17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28" Type="http://schemas.openxmlformats.org/officeDocument/2006/relationships/tags" Target="../tags/tag129.xml"/><Relationship Id="rId144" Type="http://schemas.openxmlformats.org/officeDocument/2006/relationships/tags" Target="../tags/tag145.xml"/><Relationship Id="rId149" Type="http://schemas.openxmlformats.org/officeDocument/2006/relationships/oleObject" Target="../embeddings/oleObject3.bin"/><Relationship Id="rId5" Type="http://schemas.openxmlformats.org/officeDocument/2006/relationships/tags" Target="../tags/tag6.xml"/><Relationship Id="rId90" Type="http://schemas.openxmlformats.org/officeDocument/2006/relationships/tags" Target="../tags/tag91.xml"/><Relationship Id="rId95" Type="http://schemas.openxmlformats.org/officeDocument/2006/relationships/tags" Target="../tags/tag96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18" Type="http://schemas.openxmlformats.org/officeDocument/2006/relationships/tags" Target="../tags/tag119.xml"/><Relationship Id="rId134" Type="http://schemas.openxmlformats.org/officeDocument/2006/relationships/tags" Target="../tags/tag135.xml"/><Relationship Id="rId139" Type="http://schemas.openxmlformats.org/officeDocument/2006/relationships/tags" Target="../tags/tag140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150" Type="http://schemas.openxmlformats.org/officeDocument/2006/relationships/oleObject" Target="../embeddings/oleObject4.bin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103" Type="http://schemas.openxmlformats.org/officeDocument/2006/relationships/tags" Target="../tags/tag104.xml"/><Relationship Id="rId108" Type="http://schemas.openxmlformats.org/officeDocument/2006/relationships/tags" Target="../tags/tag109.xml"/><Relationship Id="rId116" Type="http://schemas.openxmlformats.org/officeDocument/2006/relationships/tags" Target="../tags/tag117.xml"/><Relationship Id="rId124" Type="http://schemas.openxmlformats.org/officeDocument/2006/relationships/tags" Target="../tags/tag125.xml"/><Relationship Id="rId129" Type="http://schemas.openxmlformats.org/officeDocument/2006/relationships/tags" Target="../tags/tag130.xml"/><Relationship Id="rId137" Type="http://schemas.openxmlformats.org/officeDocument/2006/relationships/tags" Target="../tags/tag13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91" Type="http://schemas.openxmlformats.org/officeDocument/2006/relationships/tags" Target="../tags/tag92.xml"/><Relationship Id="rId96" Type="http://schemas.openxmlformats.org/officeDocument/2006/relationships/tags" Target="../tags/tag97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40" Type="http://schemas.openxmlformats.org/officeDocument/2006/relationships/tags" Target="../tags/tag141.xml"/><Relationship Id="rId145" Type="http://schemas.openxmlformats.org/officeDocument/2006/relationships/tags" Target="../tags/tag146.xml"/><Relationship Id="rId1" Type="http://schemas.openxmlformats.org/officeDocument/2006/relationships/vmlDrawing" Target="../drawings/vmlDrawing3.v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14" Type="http://schemas.openxmlformats.org/officeDocument/2006/relationships/tags" Target="../tags/tag115.xml"/><Relationship Id="rId119" Type="http://schemas.openxmlformats.org/officeDocument/2006/relationships/tags" Target="../tags/tag120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30" Type="http://schemas.openxmlformats.org/officeDocument/2006/relationships/tags" Target="../tags/tag131.xml"/><Relationship Id="rId135" Type="http://schemas.openxmlformats.org/officeDocument/2006/relationships/tags" Target="../tags/tag136.xml"/><Relationship Id="rId143" Type="http://schemas.openxmlformats.org/officeDocument/2006/relationships/tags" Target="../tags/tag144.xml"/><Relationship Id="rId148" Type="http://schemas.openxmlformats.org/officeDocument/2006/relationships/notesSlide" Target="../notesSlides/notesSlide1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11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120" Type="http://schemas.openxmlformats.org/officeDocument/2006/relationships/tags" Target="../tags/tag121.xml"/><Relationship Id="rId125" Type="http://schemas.openxmlformats.org/officeDocument/2006/relationships/tags" Target="../tags/tag126.xml"/><Relationship Id="rId141" Type="http://schemas.openxmlformats.org/officeDocument/2006/relationships/tags" Target="../tags/tag142.xml"/><Relationship Id="rId146" Type="http://schemas.openxmlformats.org/officeDocument/2006/relationships/tags" Target="../tags/tag147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15" Type="http://schemas.openxmlformats.org/officeDocument/2006/relationships/tags" Target="../tags/tag116.xml"/><Relationship Id="rId131" Type="http://schemas.openxmlformats.org/officeDocument/2006/relationships/tags" Target="../tags/tag132.xml"/><Relationship Id="rId136" Type="http://schemas.openxmlformats.org/officeDocument/2006/relationships/tags" Target="../tags/tag137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slideLayout" Target="../slideLayouts/slideLayout10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5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57.png"/><Relationship Id="rId7" Type="http://schemas.openxmlformats.org/officeDocument/2006/relationships/image" Target="../media/image61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0.png"/><Relationship Id="rId11" Type="http://schemas.openxmlformats.org/officeDocument/2006/relationships/image" Target="../media/image65.jpeg"/><Relationship Id="rId5" Type="http://schemas.openxmlformats.org/officeDocument/2006/relationships/image" Target="../media/image59.jpeg"/><Relationship Id="rId10" Type="http://schemas.openxmlformats.org/officeDocument/2006/relationships/image" Target="../media/image64.jpeg"/><Relationship Id="rId4" Type="http://schemas.openxmlformats.org/officeDocument/2006/relationships/image" Target="../media/image58.jpeg"/><Relationship Id="rId9" Type="http://schemas.openxmlformats.org/officeDocument/2006/relationships/image" Target="../media/image6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1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emf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1"/>
          <p:cNvSpPr txBox="1">
            <a:spLocks noChangeArrowheads="1"/>
          </p:cNvSpPr>
          <p:nvPr/>
        </p:nvSpPr>
        <p:spPr bwMode="auto">
          <a:xfrm>
            <a:off x="1619672" y="4365104"/>
            <a:ext cx="6048672" cy="100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defTabSz="457200" eaLnBrk="1" hangingPunct="1">
              <a:lnSpc>
                <a:spcPct val="110000"/>
              </a:lnSpc>
            </a:pPr>
            <a:r>
              <a:rPr lang="en-US" sz="18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IR 2017/18 ANNUAL REPORT PRESENTATION</a:t>
            </a:r>
          </a:p>
          <a:p>
            <a:pPr algn="ctr" defTabSz="457200" eaLnBrk="1" hangingPunct="1">
              <a:lnSpc>
                <a:spcPct val="110000"/>
              </a:lnSpc>
            </a:pPr>
            <a:r>
              <a:rPr lang="en-US" sz="18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800" b="1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ARLIAMENT PORTFOLIO </a:t>
            </a:r>
            <a:r>
              <a:rPr lang="en-US" sz="18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 ON </a:t>
            </a:r>
            <a:r>
              <a:rPr lang="en-US" sz="1800" b="1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CE   AND </a:t>
            </a:r>
            <a:r>
              <a:rPr lang="en-US" sz="18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</a:t>
            </a:r>
            <a:r>
              <a:rPr lang="en-US" sz="18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ZA" sz="1800" b="1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927725" y="3645024"/>
            <a:ext cx="15034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October 2018</a:t>
            </a:r>
            <a:endParaRPr lang="en-ZA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00385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gallery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67544" y="187743"/>
            <a:ext cx="46805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erformance indicators </a:t>
            </a:r>
            <a:r>
              <a:rPr lang="en-US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lance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95520829"/>
              </p:ext>
            </p:extLst>
          </p:nvPr>
        </p:nvGraphicFramePr>
        <p:xfrm>
          <a:off x="1045896" y="2564904"/>
          <a:ext cx="7270520" cy="2956560"/>
        </p:xfrm>
        <a:graphic>
          <a:graphicData uri="http://schemas.openxmlformats.org/drawingml/2006/table">
            <a:tbl>
              <a:tblPr firstRow="1" bandRow="1"/>
              <a:tblGrid>
                <a:gridCol w="15098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4615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rgbClr val="17375E"/>
                          </a:solidFill>
                          <a:latin typeface="Arial" pitchFamily="34" charset="0"/>
                          <a:cs typeface="Arial" pitchFamily="34" charset="0"/>
                        </a:rPr>
                        <a:t>Strategic </a:t>
                      </a:r>
                      <a:r>
                        <a:rPr lang="en-ZA" sz="1400" b="1" kern="1200" dirty="0" smtClean="0">
                          <a:solidFill>
                            <a:srgbClr val="17375E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bjective</a:t>
                      </a:r>
                      <a:endParaRPr lang="en-GB" sz="1400" dirty="0">
                        <a:solidFill>
                          <a:srgbClr val="17375E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rgbClr val="17375E"/>
                          </a:solidFill>
                          <a:latin typeface="Arial" pitchFamily="34" charset="0"/>
                          <a:cs typeface="Arial" pitchFamily="34" charset="0"/>
                        </a:rPr>
                        <a:t>Key performance indicator</a:t>
                      </a:r>
                      <a:endParaRPr lang="en-GB" sz="1400" dirty="0">
                        <a:solidFill>
                          <a:srgbClr val="17375E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rgbClr val="17375E"/>
                          </a:solidFill>
                          <a:latin typeface="Arial" pitchFamily="34" charset="0"/>
                          <a:cs typeface="Arial" pitchFamily="34" charset="0"/>
                        </a:rPr>
                        <a:t>2017/18 </a:t>
                      </a:r>
                      <a:r>
                        <a:rPr lang="en-ZA" sz="1400" b="1" kern="1200" dirty="0" smtClean="0">
                          <a:solidFill>
                            <a:srgbClr val="17375E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rget</a:t>
                      </a:r>
                      <a:endParaRPr lang="en-GB" sz="1400" b="1" kern="1200" dirty="0" smtClean="0">
                        <a:solidFill>
                          <a:srgbClr val="17375E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7/18  Actual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5416">
                <a:tc rowSpan="8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b="1" dirty="0" smtClean="0">
                          <a:solidFill>
                            <a:srgbClr val="17375E"/>
                          </a:solidFill>
                          <a:latin typeface="Arial" pitchFamily="34" charset="0"/>
                          <a:cs typeface="Arial" pitchFamily="34" charset="0"/>
                        </a:rPr>
                        <a:t>Build and transform human capital </a:t>
                      </a:r>
                      <a:endParaRPr lang="en-GB" sz="1400" b="1" dirty="0">
                        <a:solidFill>
                          <a:srgbClr val="17375E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Total size of SET base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100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 850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5416">
                <a:tc v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 of black South Africans in SET base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≥ 61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59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5416">
                <a:tc v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 of female South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Africans in SET base 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≥ 37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5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5416">
                <a:tc v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of SET base with Doctorates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≥ 20</a:t>
                      </a:r>
                      <a:endParaRPr lang="en-GB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7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5416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rgbClr val="012D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% of </a:t>
                      </a:r>
                      <a:r>
                        <a:rPr kumimoji="0" lang="en-ZA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Chief Researchers who are black</a:t>
                      </a:r>
                      <a:endParaRPr kumimoji="0" lang="en-GB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4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0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9.09</a:t>
                      </a:r>
                      <a:endParaRPr kumimoji="0" lang="en-GB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9.52</a:t>
                      </a:r>
                      <a:endParaRPr kumimoji="0" lang="en-GB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5416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rgbClr val="012D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 of  Chief Researchers who are female 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4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0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19</a:t>
                      </a:r>
                      <a:endParaRPr kumimoji="0" lang="en-GB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5416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rgbClr val="012D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 of Principal Researchers who are black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22</a:t>
                      </a:r>
                      <a:endParaRPr kumimoji="0" lang="en-GB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26</a:t>
                      </a:r>
                      <a:endParaRPr kumimoji="0" lang="en-GB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5416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rgbClr val="012D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 of Principal Researchers who are female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19</a:t>
                      </a:r>
                      <a:endParaRPr kumimoji="0" lang="en-GB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Arial" panose="020B0604020202020204" pitchFamily="34" charset="0"/>
                        </a:rPr>
                        <a:t>19</a:t>
                      </a:r>
                      <a:endParaRPr kumimoji="0" lang="en-GB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91448" marR="91448" marT="45696" marB="45696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1045896" y="2164578"/>
            <a:ext cx="36172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37ACC0"/>
                </a:solidFill>
                <a:latin typeface="Arial"/>
                <a:cs typeface="Arial"/>
              </a:rPr>
              <a:t>LEARNING AND GROWTH</a:t>
            </a:r>
            <a:endParaRPr lang="en-GB" sz="1600" dirty="0">
              <a:solidFill>
                <a:srgbClr val="37ACC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0354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E3EDAF4E-A638-4648-9F9E-64F64031F878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1" name="think-cell Slide" r:id="rId5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5F976A9B-8B03-449F-9CBD-28231004D6E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ct val="100000"/>
            </a:pPr>
            <a:endParaRPr lang="en-GB" sz="1000" b="1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70" name="Table 1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02365566"/>
              </p:ext>
            </p:extLst>
          </p:nvPr>
        </p:nvGraphicFramePr>
        <p:xfrm>
          <a:off x="1044078" y="2532063"/>
          <a:ext cx="7201398" cy="2481113"/>
        </p:xfrm>
        <a:graphic>
          <a:graphicData uri="http://schemas.openxmlformats.org/drawingml/2006/table">
            <a:tbl>
              <a:tblPr firstRow="1" bandRow="1"/>
              <a:tblGrid>
                <a:gridCol w="17143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536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319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228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trategic objective</a:t>
                      </a:r>
                      <a:endParaRPr lang="en-GB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ey performance indicator</a:t>
                      </a:r>
                      <a:endParaRPr lang="en-GB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7/18 </a:t>
                      </a:r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rget</a:t>
                      </a:r>
                      <a:endParaRPr lang="en-GB" sz="1400" b="1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7/18 </a:t>
                      </a:r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ctual</a:t>
                      </a:r>
                      <a:endParaRPr lang="en-GB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6769">
                <a:tc rowSpan="5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aintain financial</a:t>
                      </a:r>
                      <a:r>
                        <a:rPr lang="en-ZA" sz="1400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sustainability and good governance</a:t>
                      </a:r>
                      <a:endParaRPr lang="en-GB" sz="14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income</a:t>
                      </a:r>
                      <a:endParaRPr lang="en-GB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R2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863</a:t>
                      </a: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m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2</a:t>
                      </a:r>
                      <a:r>
                        <a:rPr lang="en-ZA" sz="14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504 </a:t>
                      </a:r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m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4056">
                <a:tc v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Investment in property,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plant and equipment</a:t>
                      </a:r>
                      <a:endParaRPr lang="en-GB" sz="14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≥ R103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 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1</a:t>
                      </a:r>
                      <a:r>
                        <a:rPr lang="en-ZA" sz="14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44</a:t>
                      </a:r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3928">
                <a:tc v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et profit/(loss)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R64 m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R14 m)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1176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B-BBEE rating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Level 2 contributor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Level 3</a:t>
                      </a:r>
                      <a:r>
                        <a:rPr lang="en-GB" sz="14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ntributor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5064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Disabling injury frequency rate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&lt; 0.2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4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0.11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74" name="Rectangle 173"/>
          <p:cNvSpPr/>
          <p:nvPr/>
        </p:nvSpPr>
        <p:spPr>
          <a:xfrm>
            <a:off x="1044078" y="2132856"/>
            <a:ext cx="33478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37ACC0"/>
                </a:solidFill>
                <a:latin typeface="Arial" pitchFamily="34" charset="0"/>
                <a:cs typeface="Arial" pitchFamily="34" charset="0"/>
              </a:rPr>
              <a:t>FINANCIAL  AND GOVERNANCE</a:t>
            </a:r>
            <a:endParaRPr lang="en-GB" sz="1600" dirty="0">
              <a:solidFill>
                <a:srgbClr val="37AC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7544" y="187743"/>
            <a:ext cx="46805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erformance indicators </a:t>
            </a:r>
            <a:r>
              <a:rPr lang="en-US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lance</a:t>
            </a:r>
          </a:p>
        </p:txBody>
      </p:sp>
    </p:spTree>
    <p:extLst>
      <p:ext uri="{BB962C8B-B14F-4D97-AF65-F5344CB8AC3E}">
        <p14:creationId xmlns:p14="http://schemas.microsoft.com/office/powerpoint/2010/main" xmlns="" val="2835142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1"/>
          <p:cNvSpPr txBox="1">
            <a:spLocks noChangeArrowheads="1"/>
          </p:cNvSpPr>
          <p:nvPr/>
        </p:nvSpPr>
        <p:spPr bwMode="auto">
          <a:xfrm>
            <a:off x="107504" y="548680"/>
            <a:ext cx="5472608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457200" eaLnBrk="1" hangingPunct="1"/>
            <a:r>
              <a:rPr lang="en-ZA" sz="3600" b="1" dirty="0" smtClean="0">
                <a:solidFill>
                  <a:schemeClr val="bg1"/>
                </a:solidFill>
                <a:latin typeface="Arial" charset="0"/>
              </a:rPr>
              <a:t>Highlights</a:t>
            </a:r>
          </a:p>
          <a:p>
            <a:pPr defTabSz="457200" eaLnBrk="1" hangingPunct="1"/>
            <a:endParaRPr lang="en-ZA" sz="2800" b="1" dirty="0">
              <a:solidFill>
                <a:srgbClr val="032C50"/>
              </a:solidFill>
              <a:latin typeface="Arial" charset="0"/>
            </a:endParaRPr>
          </a:p>
        </p:txBody>
      </p:sp>
      <p:pic>
        <p:nvPicPr>
          <p:cNvPr id="3" name="Picture 2" descr="ARICONS.png"/>
          <p:cNvPicPr>
            <a:picLocks noChangeAspect="1"/>
          </p:cNvPicPr>
          <p:nvPr/>
        </p:nvPicPr>
        <p:blipFill>
          <a:blip r:embed="rId3" cstate="print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339752" y="5013176"/>
            <a:ext cx="953111" cy="948496"/>
          </a:xfrm>
          <a:prstGeom prst="rect">
            <a:avLst/>
          </a:prstGeom>
        </p:spPr>
      </p:pic>
      <p:pic>
        <p:nvPicPr>
          <p:cNvPr id="6" name="Picture 5" descr="AR-ICONS-5.png"/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402036" y="5013176"/>
            <a:ext cx="966958" cy="976189"/>
          </a:xfrm>
          <a:prstGeom prst="rect">
            <a:avLst/>
          </a:prstGeom>
        </p:spPr>
      </p:pic>
      <p:pic>
        <p:nvPicPr>
          <p:cNvPr id="7" name="Picture 6" descr="AR-ICONS-4.png"/>
          <p:cNvPicPr>
            <a:picLocks noChangeAspect="1"/>
          </p:cNvPicPr>
          <p:nvPr/>
        </p:nvPicPr>
        <p:blipFill>
          <a:blip r:embed="rId5" cstate="print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542335" y="5013176"/>
            <a:ext cx="973881" cy="960035"/>
          </a:xfrm>
          <a:prstGeom prst="rect">
            <a:avLst/>
          </a:prstGeom>
        </p:spPr>
      </p:pic>
      <p:pic>
        <p:nvPicPr>
          <p:cNvPr id="9" name="Picture 8" descr="AR-ICONS-2.png"/>
          <p:cNvPicPr>
            <a:picLocks noChangeAspect="1"/>
          </p:cNvPicPr>
          <p:nvPr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470191" y="5013176"/>
            <a:ext cx="966958" cy="95772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0825" y="1772816"/>
            <a:ext cx="5959475" cy="2977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3875" indent="-342900" defTabSz="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FFFFFF"/>
                </a:solidFill>
                <a:latin typeface="Arial"/>
                <a:cs typeface="Arial"/>
              </a:rPr>
              <a:t>Build and transform human capital</a:t>
            </a:r>
          </a:p>
          <a:p>
            <a:pPr marL="523875" indent="-342900" defTabSz="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FFFFFF"/>
                </a:solidFill>
                <a:latin typeface="Arial"/>
                <a:cs typeface="Arial"/>
              </a:rPr>
              <a:t>Financial sustainability and governance </a:t>
            </a:r>
          </a:p>
          <a:p>
            <a:pPr marL="523875" indent="-342900" defTabSz="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FFFFFF"/>
                </a:solidFill>
                <a:latin typeface="Arial"/>
                <a:cs typeface="Arial"/>
              </a:rPr>
              <a:t>Research to foster industrial development</a:t>
            </a:r>
          </a:p>
          <a:p>
            <a:pPr marL="523875" indent="-342900" defTabSz="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FFFFFF"/>
                </a:solidFill>
                <a:latin typeface="Arial"/>
                <a:cs typeface="Arial"/>
              </a:rPr>
              <a:t>Research to foster scientific development</a:t>
            </a:r>
          </a:p>
          <a:p>
            <a:pPr marL="523875" indent="-342900" defTabSz="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FFFFFF"/>
                </a:solidFill>
                <a:latin typeface="Arial"/>
                <a:cs typeface="Arial"/>
              </a:rPr>
              <a:t>Health and safety </a:t>
            </a:r>
            <a:endParaRPr lang="en-ZA" b="1" dirty="0" smtClean="0">
              <a:solidFill>
                <a:srgbClr val="FFFFFF"/>
              </a:solidFill>
              <a:latin typeface="Arial"/>
              <a:cs typeface="Arial"/>
            </a:endParaRPr>
          </a:p>
          <a:p>
            <a:pPr marL="523875" indent="-342900" defTabSz="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FFFFFF"/>
                </a:solidFill>
                <a:latin typeface="Arial"/>
                <a:cs typeface="Arial"/>
              </a:rPr>
              <a:t>Broad-Based Black Economic Empowerment</a:t>
            </a:r>
          </a:p>
          <a:p>
            <a:pPr marL="523875" indent="-342900" defTabSz="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1" dirty="0">
                <a:solidFill>
                  <a:srgbClr val="FFFFFF"/>
                </a:solidFill>
                <a:latin typeface="Arial"/>
                <a:cs typeface="Arial"/>
              </a:rPr>
              <a:t>Infrastructure renewal and development</a:t>
            </a:r>
          </a:p>
        </p:txBody>
      </p:sp>
      <p:pic>
        <p:nvPicPr>
          <p:cNvPr id="10" name="Picture 9" descr="DOTS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619672" y="5462905"/>
            <a:ext cx="637032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586071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gallery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/>
          <p:cNvSpPr/>
          <p:nvPr/>
        </p:nvSpPr>
        <p:spPr>
          <a:xfrm>
            <a:off x="-42971" y="4869160"/>
            <a:ext cx="7258671" cy="1368152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/>
        </p:nvSpPr>
        <p:spPr>
          <a:xfrm>
            <a:off x="-42971" y="3356992"/>
            <a:ext cx="9144000" cy="151216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-42971" y="1772816"/>
            <a:ext cx="9144000" cy="158417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850" y="404664"/>
            <a:ext cx="6192366" cy="576064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ZA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ZA" sz="3200" dirty="0">
                <a:latin typeface="Arial" panose="020B0604020202020204" pitchFamily="34" charset="0"/>
                <a:cs typeface="Arial" panose="020B0604020202020204" pitchFamily="34" charset="0"/>
              </a:rPr>
              <a:t>and transform human </a:t>
            </a:r>
            <a:r>
              <a:rPr lang="en-ZA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capital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230930" y="2780928"/>
            <a:ext cx="17226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aduates on DST Interbursary</a:t>
            </a:r>
            <a:endParaRPr lang="en-ZA" sz="11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17274" y="2780928"/>
            <a:ext cx="178112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grads and Hons </a:t>
            </a:r>
            <a:b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CSIR bursaries</a:t>
            </a:r>
            <a:endParaRPr lang="en-ZA" sz="11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87677" y="2780928"/>
            <a:ext cx="141047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’s</a:t>
            </a:r>
          </a:p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hips</a:t>
            </a:r>
            <a:endParaRPr lang="en-ZA" sz="11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536519" y="2780928"/>
            <a:ext cx="141047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oral</a:t>
            </a:r>
          </a:p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hips</a:t>
            </a:r>
            <a:endParaRPr lang="en-ZA" sz="11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8739" y="1988840"/>
            <a:ext cx="148144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ew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ET base:</a:t>
            </a:r>
          </a:p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 indicators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98739" y="3429000"/>
            <a:ext cx="18529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</a:t>
            </a:r>
          </a:p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ET base: Pipeline </a:t>
            </a:r>
          </a:p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s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686969" y="4196988"/>
            <a:ext cx="184173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</a:t>
            </a:r>
          </a:p>
          <a:p>
            <a:pPr algn="ctr"/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IR bursary holders (47%)</a:t>
            </a:r>
            <a:endParaRPr lang="en-ZA" sz="11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579374" y="4196988"/>
            <a:ext cx="18270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rican </a:t>
            </a:r>
          </a:p>
          <a:p>
            <a:pPr algn="ctr"/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IR bursary holders (59%)</a:t>
            </a:r>
            <a:endParaRPr lang="en-ZA" sz="11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320888" y="4196988"/>
            <a:ext cx="18417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rican females </a:t>
            </a:r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IR studentships (46%)</a:t>
            </a:r>
            <a:endParaRPr lang="en-ZA" sz="11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591023" y="5750936"/>
            <a:ext cx="18037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motions</a:t>
            </a:r>
          </a:p>
          <a:p>
            <a:pPr algn="ctr"/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hief  researchers</a:t>
            </a:r>
            <a:endParaRPr lang="en-ZA" sz="11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410801" y="5750936"/>
            <a:ext cx="16619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 researchers</a:t>
            </a:r>
            <a:endParaRPr lang="en-ZA" sz="11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98739" y="5148436"/>
            <a:ext cx="15238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ET base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776882" y="5750936"/>
            <a:ext cx="16619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ons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7171364" y="4196988"/>
            <a:ext cx="18417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frican females </a:t>
            </a:r>
            <a:r>
              <a:rPr lang="en-ZA" sz="11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IR internships (55%)</a:t>
            </a:r>
            <a:endParaRPr lang="en-ZA" sz="11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45235" y="1772816"/>
            <a:ext cx="172520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>
                <a:solidFill>
                  <a:srgbClr val="37AC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4</a:t>
            </a:r>
            <a:endParaRPr lang="en-US" sz="7200" dirty="0">
              <a:solidFill>
                <a:srgbClr val="37ACC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3630312" y="1772816"/>
            <a:ext cx="172520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rgbClr val="37AC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5</a:t>
            </a:r>
            <a:endParaRPr lang="en-US" sz="7200" dirty="0">
              <a:solidFill>
                <a:srgbClr val="37ACC0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5635910" y="1772816"/>
            <a:ext cx="121169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rgbClr val="37AC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7</a:t>
            </a:r>
            <a:endParaRPr lang="en-US" sz="7200" dirty="0">
              <a:solidFill>
                <a:srgbClr val="37ACC0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7229630" y="1772816"/>
            <a:ext cx="172520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rgbClr val="37AC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9</a:t>
            </a:r>
            <a:endParaRPr lang="en-US" sz="7200" dirty="0">
              <a:solidFill>
                <a:srgbClr val="37ACC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1887756" y="2814037"/>
            <a:ext cx="1440160" cy="0"/>
          </a:xfrm>
          <a:prstGeom prst="line">
            <a:avLst/>
          </a:prstGeom>
          <a:ln w="38100" cmpd="sng">
            <a:solidFill>
              <a:srgbClr val="37AC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3772833" y="2814037"/>
            <a:ext cx="1440160" cy="0"/>
          </a:xfrm>
          <a:prstGeom prst="line">
            <a:avLst/>
          </a:prstGeom>
          <a:ln w="38100" cmpd="sng">
            <a:solidFill>
              <a:srgbClr val="37AC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5521675" y="2814037"/>
            <a:ext cx="1440160" cy="0"/>
          </a:xfrm>
          <a:prstGeom prst="line">
            <a:avLst/>
          </a:prstGeom>
          <a:ln w="38100" cmpd="sng">
            <a:solidFill>
              <a:srgbClr val="37AC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7372151" y="2814037"/>
            <a:ext cx="1440160" cy="0"/>
          </a:xfrm>
          <a:prstGeom prst="line">
            <a:avLst/>
          </a:prstGeom>
          <a:ln w="38100" cmpd="sng">
            <a:solidFill>
              <a:srgbClr val="37AC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2001991" y="3140968"/>
            <a:ext cx="121169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</a:t>
            </a:r>
            <a:endParaRPr lang="en-US" sz="7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89" name="Straight Connector 88"/>
          <p:cNvCxnSpPr/>
          <p:nvPr/>
        </p:nvCxnSpPr>
        <p:spPr>
          <a:xfrm>
            <a:off x="1887756" y="4182189"/>
            <a:ext cx="1440160" cy="0"/>
          </a:xfrm>
          <a:prstGeom prst="line">
            <a:avLst/>
          </a:prstGeom>
          <a:ln w="381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3887068" y="3140968"/>
            <a:ext cx="121169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6</a:t>
            </a:r>
            <a:endParaRPr lang="en-US" sz="7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3772833" y="4182189"/>
            <a:ext cx="1440160" cy="0"/>
          </a:xfrm>
          <a:prstGeom prst="line">
            <a:avLst/>
          </a:prstGeom>
          <a:ln w="381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Rectangle 91"/>
          <p:cNvSpPr/>
          <p:nvPr/>
        </p:nvSpPr>
        <p:spPr>
          <a:xfrm>
            <a:off x="5635910" y="3140968"/>
            <a:ext cx="121169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</a:t>
            </a:r>
            <a:endParaRPr lang="en-US" sz="7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3" name="Straight Connector 92"/>
          <p:cNvCxnSpPr/>
          <p:nvPr/>
        </p:nvCxnSpPr>
        <p:spPr>
          <a:xfrm>
            <a:off x="5521675" y="4182189"/>
            <a:ext cx="1440160" cy="0"/>
          </a:xfrm>
          <a:prstGeom prst="line">
            <a:avLst/>
          </a:prstGeom>
          <a:ln w="381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/>
        </p:nvSpPr>
        <p:spPr>
          <a:xfrm>
            <a:off x="7486386" y="3140968"/>
            <a:ext cx="121169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4</a:t>
            </a:r>
            <a:endParaRPr lang="en-US" sz="7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7372151" y="4182189"/>
            <a:ext cx="1440160" cy="0"/>
          </a:xfrm>
          <a:prstGeom prst="line">
            <a:avLst/>
          </a:prstGeom>
          <a:ln w="381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1745235" y="4692035"/>
            <a:ext cx="172520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2</a:t>
            </a:r>
            <a:endParaRPr lang="en-US" sz="7200" dirty="0">
              <a:solidFill>
                <a:srgbClr val="82AE19"/>
              </a:solidFill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>
            <a:off x="1887756" y="5733256"/>
            <a:ext cx="1440160" cy="0"/>
          </a:xfrm>
          <a:prstGeom prst="line">
            <a:avLst/>
          </a:prstGeom>
          <a:ln w="38100" cmpd="sng">
            <a:solidFill>
              <a:srgbClr val="82AE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Rectangle 97"/>
          <p:cNvSpPr/>
          <p:nvPr/>
        </p:nvSpPr>
        <p:spPr>
          <a:xfrm>
            <a:off x="4143824" y="4692035"/>
            <a:ext cx="69817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7200" dirty="0">
              <a:solidFill>
                <a:srgbClr val="82AE19"/>
              </a:solidFill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3772833" y="5733256"/>
            <a:ext cx="1440160" cy="0"/>
          </a:xfrm>
          <a:prstGeom prst="line">
            <a:avLst/>
          </a:prstGeom>
          <a:ln w="38100" cmpd="sng">
            <a:solidFill>
              <a:srgbClr val="82AE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5379154" y="4692035"/>
            <a:ext cx="172520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7200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0</a:t>
            </a:r>
            <a:endParaRPr lang="en-US" sz="7200" dirty="0">
              <a:solidFill>
                <a:srgbClr val="82AE19"/>
              </a:solidFill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5521675" y="5733256"/>
            <a:ext cx="1440160" cy="0"/>
          </a:xfrm>
          <a:prstGeom prst="line">
            <a:avLst/>
          </a:prstGeom>
          <a:ln w="38100" cmpd="sng">
            <a:solidFill>
              <a:srgbClr val="82AE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915917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-45084" y="1628800"/>
            <a:ext cx="9133745" cy="158417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-45084" y="4730262"/>
            <a:ext cx="7250530" cy="151216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-45084" y="3212976"/>
            <a:ext cx="9133745" cy="151216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/>
          <p:cNvCxnSpPr/>
          <p:nvPr/>
        </p:nvCxnSpPr>
        <p:spPr>
          <a:xfrm>
            <a:off x="7226041" y="3354657"/>
            <a:ext cx="0" cy="1112887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850" y="404664"/>
            <a:ext cx="6192366" cy="72008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and transform human capital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7328" r="5400"/>
          <a:stretch/>
        </p:blipFill>
        <p:spPr>
          <a:xfrm>
            <a:off x="395536" y="1772816"/>
            <a:ext cx="1496784" cy="1246855"/>
          </a:xfrm>
          <a:prstGeom prst="rect">
            <a:avLst/>
          </a:prstGeom>
          <a:ln w="38100" cmpd="sng">
            <a:noFill/>
          </a:ln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95536" y="4879397"/>
            <a:ext cx="1497916" cy="1213899"/>
          </a:xfrm>
          <a:prstGeom prst="rect">
            <a:avLst/>
          </a:prstGeom>
          <a:ln w="38100" cmpd="sng">
            <a:noFill/>
          </a:ln>
        </p:spPr>
      </p:pic>
      <p:sp>
        <p:nvSpPr>
          <p:cNvPr id="31" name="TextBox 30"/>
          <p:cNvSpPr txBox="1"/>
          <p:nvPr/>
        </p:nvSpPr>
        <p:spPr>
          <a:xfrm>
            <a:off x="1851892" y="5589240"/>
            <a:ext cx="23600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ng people reached</a:t>
            </a:r>
            <a:endParaRPr lang="en-ZA" sz="11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165754" y="4025228"/>
            <a:ext cx="18002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ment offers to MICT-SETA interns</a:t>
            </a:r>
            <a:endParaRPr lang="en-ZA" sz="11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074071" y="5013800"/>
            <a:ext cx="46805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aged next generation of researchers through 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reach programme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Sasol </a:t>
            </a:r>
            <a:r>
              <a:rPr lang="en-ZA" sz="1600" dirty="0" err="1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X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cience Tube, </a:t>
            </a:r>
            <a:r>
              <a:rPr lang="en-ZA" sz="1600" dirty="0" err="1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fest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SIR Career Day</a:t>
            </a:r>
            <a:endParaRPr lang="en-GB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067944" y="3307340"/>
            <a:ext cx="504629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</a:t>
            </a: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enticeships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Manufacturing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gineering and Related Services Sector SETA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4th industrial revolution: maintenance of solar photovoltaic systems and vehicle maintenance in informal settlements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-1"/>
          <a:stretch/>
        </p:blipFill>
        <p:spPr>
          <a:xfrm>
            <a:off x="395536" y="3356992"/>
            <a:ext cx="1496784" cy="1188362"/>
          </a:xfrm>
          <a:prstGeom prst="rect">
            <a:avLst/>
          </a:prstGeom>
          <a:ln w="38100" cmpd="sng">
            <a:noFill/>
          </a:ln>
        </p:spPr>
      </p:pic>
      <p:sp>
        <p:nvSpPr>
          <p:cNvPr id="55" name="TextBox 54"/>
          <p:cNvSpPr txBox="1"/>
          <p:nvPr/>
        </p:nvSpPr>
        <p:spPr>
          <a:xfrm>
            <a:off x="4074071" y="1844824"/>
            <a:ext cx="50405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fully partnered with sector education training authorities (</a:t>
            </a: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As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to address youth unemployment, among others, the Media, Information and Communication Technologies (MICT) SETA</a:t>
            </a:r>
          </a:p>
        </p:txBody>
      </p:sp>
      <p:sp>
        <p:nvSpPr>
          <p:cNvPr id="2" name="Rectangle 1"/>
          <p:cNvSpPr/>
          <p:nvPr/>
        </p:nvSpPr>
        <p:spPr>
          <a:xfrm>
            <a:off x="1979712" y="2657076"/>
            <a:ext cx="208823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sz="11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fied</a:t>
            </a:r>
            <a:r>
              <a:rPr lang="en-ZA" sz="11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unemployed youths trained with MICT-SETA</a:t>
            </a:r>
            <a:endParaRPr lang="en-ZA" sz="11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467565" y="1772816"/>
            <a:ext cx="104051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6000" b="1" dirty="0" smtClean="0">
                <a:solidFill>
                  <a:srgbClr val="37AC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  <a:endParaRPr lang="en-US" sz="6000" dirty="0">
              <a:solidFill>
                <a:srgbClr val="37ACC0"/>
              </a:solidFill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>
            <a:off x="2210334" y="2670021"/>
            <a:ext cx="1584176" cy="0"/>
          </a:xfrm>
          <a:prstGeom prst="line">
            <a:avLst/>
          </a:prstGeom>
          <a:ln w="38100" cmpd="sng">
            <a:solidFill>
              <a:srgbClr val="37AC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2467565" y="3133417"/>
            <a:ext cx="104051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6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en-US" sz="60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64" name="Straight Connector 63"/>
          <p:cNvCxnSpPr/>
          <p:nvPr/>
        </p:nvCxnSpPr>
        <p:spPr>
          <a:xfrm>
            <a:off x="2210334" y="4038173"/>
            <a:ext cx="1584176" cy="0"/>
          </a:xfrm>
          <a:prstGeom prst="line">
            <a:avLst/>
          </a:prstGeom>
          <a:ln w="381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2125223" y="4717593"/>
            <a:ext cx="172520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6000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en-ZA" sz="3600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endParaRPr lang="en-US" sz="3600" dirty="0">
              <a:solidFill>
                <a:srgbClr val="82AE19"/>
              </a:solidFill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>
            <a:off x="2210334" y="5589240"/>
            <a:ext cx="1584176" cy="0"/>
          </a:xfrm>
          <a:prstGeom prst="line">
            <a:avLst/>
          </a:prstGeom>
          <a:ln w="38100" cmpd="sng">
            <a:solidFill>
              <a:srgbClr val="82AE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95536" y="6093296"/>
            <a:ext cx="1512168" cy="0"/>
          </a:xfrm>
          <a:prstGeom prst="line">
            <a:avLst/>
          </a:prstGeom>
          <a:ln w="762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95536" y="4581128"/>
            <a:ext cx="1512168" cy="0"/>
          </a:xfrm>
          <a:prstGeom prst="line">
            <a:avLst/>
          </a:prstGeom>
          <a:ln w="7620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395536" y="2996952"/>
            <a:ext cx="1512168" cy="0"/>
          </a:xfrm>
          <a:prstGeom prst="line">
            <a:avLst/>
          </a:prstGeom>
          <a:ln w="76200" cmpd="sng">
            <a:solidFill>
              <a:srgbClr val="37AC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862226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>
            <a:spLocks/>
          </p:cNvSpPr>
          <p:nvPr/>
        </p:nvSpPr>
        <p:spPr>
          <a:xfrm>
            <a:off x="406988" y="260648"/>
            <a:ext cx="6325252" cy="9953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ZA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ZA" sz="2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Accelerated Researcher Development Programme</a:t>
            </a:r>
            <a:b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50825" y="1736274"/>
            <a:ext cx="8520112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rgbClr val="032C50"/>
                </a:solidFill>
                <a:latin typeface="Arial"/>
                <a:cs typeface="Arial"/>
              </a:rPr>
              <a:t>Programme</a:t>
            </a:r>
            <a:r>
              <a:rPr lang="en-US" sz="1600" b="1" dirty="0">
                <a:solidFill>
                  <a:srgbClr val="032C50"/>
                </a:solidFill>
                <a:latin typeface="Arial"/>
                <a:cs typeface="Arial"/>
              </a:rPr>
              <a:t> </a:t>
            </a:r>
            <a:r>
              <a:rPr lang="en-US" sz="1600" b="1" dirty="0" smtClean="0">
                <a:solidFill>
                  <a:srgbClr val="032C50"/>
                </a:solidFill>
                <a:latin typeface="Arial"/>
                <a:cs typeface="Arial"/>
              </a:rPr>
              <a:t>objective</a:t>
            </a:r>
          </a:p>
          <a:p>
            <a:r>
              <a:rPr lang="en-ZA" sz="1600" spc="-17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ZA" sz="1600" spc="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d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t</a:t>
            </a:r>
            <a:r>
              <a:rPr lang="en-ZA" sz="1600" spc="1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ZA" sz="1600" spc="2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n-ZA" sz="1600" spc="4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</a:t>
            </a:r>
            <a:r>
              <a:rPr lang="en-ZA" sz="1600" spc="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d 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l</a:t>
            </a:r>
            <a:r>
              <a:rPr lang="en-ZA" sz="1600" spc="-1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ZA" sz="1600" spc="1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n-ZA" sz="1600" spc="4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ising black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th Af</a:t>
            </a:r>
            <a:r>
              <a:rPr lang="en-ZA" sz="1600" spc="-1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an researchers </a:t>
            </a:r>
            <a:r>
              <a:rPr lang="en-US" sz="1600" spc="-5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he aim of growing the CSIR </a:t>
            </a:r>
            <a:r>
              <a:rPr lang="en-US" sz="1600" spc="-5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ef researcher cohort.</a:t>
            </a:r>
            <a:endParaRPr lang="en-US" sz="1600" spc="-5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0825" y="2665248"/>
            <a:ext cx="835317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 smtClean="0">
                <a:solidFill>
                  <a:srgbClr val="032C50"/>
                </a:solidFill>
                <a:latin typeface="Arial"/>
                <a:cs typeface="Arial"/>
              </a:rPr>
              <a:t>Programme intent</a:t>
            </a:r>
            <a:endParaRPr lang="en-GB" sz="1600" b="1" i="1" dirty="0" smtClean="0">
              <a:solidFill>
                <a:srgbClr val="032C50"/>
              </a:solidFill>
              <a:latin typeface="Arial"/>
              <a:cs typeface="Arial"/>
            </a:endParaRPr>
          </a:p>
          <a:p>
            <a:r>
              <a:rPr lang="en-GB" sz="1600" dirty="0" smtClean="0">
                <a:solidFill>
                  <a:srgbClr val="032C50"/>
                </a:solidFill>
                <a:latin typeface="Arial"/>
                <a:cs typeface="Arial"/>
              </a:rPr>
              <a:t>Provide systematic </a:t>
            </a:r>
            <a:r>
              <a:rPr lang="en-GB" sz="1600" dirty="0">
                <a:solidFill>
                  <a:srgbClr val="032C50"/>
                </a:solidFill>
                <a:latin typeface="Arial"/>
                <a:cs typeface="Arial"/>
              </a:rPr>
              <a:t>and </a:t>
            </a:r>
            <a:r>
              <a:rPr lang="en-GB" sz="1600" dirty="0" smtClean="0">
                <a:solidFill>
                  <a:srgbClr val="032C50"/>
                </a:solidFill>
                <a:latin typeface="Arial"/>
                <a:cs typeface="Arial"/>
              </a:rPr>
              <a:t>resource-based </a:t>
            </a:r>
            <a:r>
              <a:rPr lang="en-GB" sz="1600" dirty="0">
                <a:solidFill>
                  <a:srgbClr val="032C50"/>
                </a:solidFill>
                <a:latin typeface="Arial"/>
                <a:cs typeface="Arial"/>
              </a:rPr>
              <a:t>support </a:t>
            </a:r>
            <a:r>
              <a:rPr lang="en-GB" sz="1600" dirty="0" smtClean="0">
                <a:solidFill>
                  <a:srgbClr val="032C50"/>
                </a:solidFill>
                <a:latin typeface="Arial"/>
                <a:cs typeface="Arial"/>
              </a:rPr>
              <a:t>to </a:t>
            </a:r>
            <a:r>
              <a:rPr lang="en-GB" sz="1600" dirty="0">
                <a:solidFill>
                  <a:srgbClr val="032C50"/>
                </a:solidFill>
                <a:latin typeface="Arial"/>
                <a:cs typeface="Arial"/>
              </a:rPr>
              <a:t>allow rapid career development:</a:t>
            </a:r>
            <a:endParaRPr lang="en-US" sz="1600" i="1" dirty="0">
              <a:solidFill>
                <a:srgbClr val="032C50"/>
              </a:solidFill>
              <a:latin typeface="Arial"/>
              <a:cs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50825" y="4293096"/>
            <a:ext cx="85319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solidFill>
                  <a:srgbClr val="032C50"/>
                </a:solidFill>
                <a:latin typeface="Arial"/>
                <a:cs typeface="Arial"/>
              </a:rPr>
              <a:t>Progress to date</a:t>
            </a:r>
          </a:p>
          <a:p>
            <a:r>
              <a:rPr lang="en-GB" sz="1600" dirty="0" smtClean="0">
                <a:solidFill>
                  <a:srgbClr val="032C50"/>
                </a:solidFill>
                <a:latin typeface="Arial"/>
                <a:cs typeface="Arial"/>
              </a:rPr>
              <a:t>Invested R10m in</a:t>
            </a:r>
            <a:r>
              <a:rPr lang="en-GB" sz="1600" b="1" dirty="0" smtClean="0">
                <a:solidFill>
                  <a:srgbClr val="032C50"/>
                </a:solidFill>
                <a:latin typeface="Arial"/>
                <a:cs typeface="Arial"/>
              </a:rPr>
              <a:t> </a:t>
            </a:r>
            <a:r>
              <a:rPr lang="en-GB" sz="1600" dirty="0" smtClean="0">
                <a:solidFill>
                  <a:srgbClr val="032C50"/>
                </a:solidFill>
                <a:latin typeface="Arial"/>
                <a:cs typeface="Arial"/>
              </a:rPr>
              <a:t>seven promising researchers (black South Africans, three female) in 2017/18 and a further six have been identified for support in 2018/19.</a:t>
            </a:r>
            <a:endParaRPr lang="en-US" sz="1600" dirty="0">
              <a:solidFill>
                <a:srgbClr val="032C50"/>
              </a:solidFill>
              <a:latin typeface="Arial"/>
              <a:cs typeface="Arial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09933" y="3241312"/>
            <a:ext cx="8603230" cy="799628"/>
            <a:chOff x="333498" y="5360467"/>
            <a:chExt cx="8603230" cy="799628"/>
          </a:xfrm>
        </p:grpSpPr>
        <p:sp>
          <p:nvSpPr>
            <p:cNvPr id="28" name="Rectangle 27"/>
            <p:cNvSpPr/>
            <p:nvPr/>
          </p:nvSpPr>
          <p:spPr>
            <a:xfrm>
              <a:off x="6207141" y="5360467"/>
              <a:ext cx="2722870" cy="792088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>
              <a:solidFill>
                <a:srgbClr val="37ACC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 b="1" dirty="0">
                <a:solidFill>
                  <a:srgbClr val="012D50"/>
                </a:solidFill>
                <a:latin typeface="Arial"/>
                <a:cs typeface="Arial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198855" y="5360467"/>
              <a:ext cx="1944216" cy="792088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>
              <a:solidFill>
                <a:srgbClr val="37ACC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 b="1" dirty="0">
                <a:solidFill>
                  <a:srgbClr val="012D50"/>
                </a:solidFill>
                <a:latin typeface="Arial"/>
                <a:cs typeface="Arial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194711" y="5360467"/>
              <a:ext cx="936104" cy="792088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>
              <a:solidFill>
                <a:srgbClr val="37ACC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 b="1" dirty="0">
                <a:solidFill>
                  <a:srgbClr val="012D50"/>
                </a:solidFill>
                <a:latin typeface="Arial"/>
                <a:cs typeface="Arial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780176" y="5360467"/>
              <a:ext cx="1351962" cy="792088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>
              <a:solidFill>
                <a:srgbClr val="37ACC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 b="1" dirty="0">
                <a:solidFill>
                  <a:srgbClr val="012D50"/>
                </a:solidFill>
                <a:latin typeface="Arial"/>
                <a:cs typeface="Arial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33498" y="5360467"/>
              <a:ext cx="1368152" cy="792088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>
              <a:solidFill>
                <a:srgbClr val="37ACC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 b="1" dirty="0">
                <a:solidFill>
                  <a:srgbClr val="012D50"/>
                </a:solidFill>
                <a:latin typeface="Arial"/>
                <a:cs typeface="Arial"/>
              </a:endParaRPr>
            </a:p>
          </p:txBody>
        </p:sp>
        <p:pic>
          <p:nvPicPr>
            <p:cNvPr id="33" name="Picture 32" descr="icons -10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3491880" y="5504483"/>
              <a:ext cx="396836" cy="306629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5004048" y="5432475"/>
              <a:ext cx="306576" cy="36004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7337212" y="5432475"/>
              <a:ext cx="331132" cy="377880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2280061" y="5426867"/>
              <a:ext cx="296535" cy="386468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856690" y="5504483"/>
              <a:ext cx="372595" cy="30061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333867" y="5872063"/>
              <a:ext cx="1368152" cy="288032"/>
            </a:xfrm>
            <a:prstGeom prst="rect">
              <a:avLst/>
            </a:prstGeom>
            <a:solidFill>
              <a:srgbClr val="37ACC0">
                <a:alpha val="92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 b="1" dirty="0">
                  <a:solidFill>
                    <a:srgbClr val="012D50"/>
                  </a:solidFill>
                  <a:latin typeface="Arial"/>
                  <a:cs typeface="Arial"/>
                </a:rPr>
                <a:t>Infrastructure</a:t>
              </a:r>
              <a:r>
                <a:rPr lang="en-GB" b="1" dirty="0">
                  <a:solidFill>
                    <a:srgbClr val="012D50"/>
                  </a:solidFill>
                  <a:latin typeface="Arial"/>
                  <a:cs typeface="Arial"/>
                </a:rPr>
                <a:t> 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774027" y="5872063"/>
              <a:ext cx="1368152" cy="288032"/>
            </a:xfrm>
            <a:prstGeom prst="rect">
              <a:avLst/>
            </a:prstGeom>
            <a:solidFill>
              <a:srgbClr val="37ACC0">
                <a:alpha val="92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 b="1" dirty="0">
                  <a:solidFill>
                    <a:srgbClr val="012D50"/>
                  </a:solidFill>
                  <a:latin typeface="Arial"/>
                  <a:cs typeface="Arial"/>
                </a:rPr>
                <a:t>Studentships</a:t>
              </a:r>
              <a:endParaRPr lang="en-US" sz="14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195913" y="5872063"/>
              <a:ext cx="936104" cy="288032"/>
            </a:xfrm>
            <a:prstGeom prst="rect">
              <a:avLst/>
            </a:prstGeom>
            <a:solidFill>
              <a:srgbClr val="37ACC0">
                <a:alpha val="92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 b="1" dirty="0">
                  <a:solidFill>
                    <a:srgbClr val="012D50"/>
                  </a:solidFill>
                  <a:latin typeface="Arial"/>
                  <a:cs typeface="Arial"/>
                </a:rPr>
                <a:t>Training 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198855" y="5872063"/>
              <a:ext cx="1944216" cy="288032"/>
            </a:xfrm>
            <a:prstGeom prst="rect">
              <a:avLst/>
            </a:prstGeom>
            <a:solidFill>
              <a:srgbClr val="37ACC0">
                <a:alpha val="92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 b="1" dirty="0">
                  <a:solidFill>
                    <a:srgbClr val="012D50"/>
                  </a:solidFill>
                  <a:latin typeface="Arial"/>
                  <a:cs typeface="Arial"/>
                </a:rPr>
                <a:t>Travel and exposur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200424" y="5872063"/>
              <a:ext cx="2736304" cy="288032"/>
            </a:xfrm>
            <a:prstGeom prst="rect">
              <a:avLst/>
            </a:prstGeom>
            <a:solidFill>
              <a:srgbClr val="37ACC0">
                <a:alpha val="92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400" b="1" dirty="0">
                  <a:solidFill>
                    <a:srgbClr val="012D50"/>
                  </a:solidFill>
                  <a:latin typeface="Arial"/>
                  <a:cs typeface="Arial"/>
                </a:rPr>
                <a:t>Ring-fenced research funding</a:t>
              </a:r>
            </a:p>
          </p:txBody>
        </p:sp>
      </p:grpSp>
      <p:pic>
        <p:nvPicPr>
          <p:cNvPr id="6" name="Picture 5" descr="progress line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124075" y="6539636"/>
            <a:ext cx="6952694" cy="58014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1"/>
          <a:stretch/>
        </p:blipFill>
        <p:spPr>
          <a:xfrm>
            <a:off x="426859" y="5157193"/>
            <a:ext cx="721783" cy="778383"/>
          </a:xfrm>
          <a:prstGeom prst="rect">
            <a:avLst/>
          </a:prstGeom>
          <a:ln>
            <a:noFill/>
          </a:ln>
        </p:spPr>
      </p:pic>
      <p:pic>
        <p:nvPicPr>
          <p:cNvPr id="32" name="Picture 31"/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4597438" y="5157193"/>
            <a:ext cx="739603" cy="908092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Picture 34"/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474629" y="5157193"/>
            <a:ext cx="739603" cy="912578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Picture 36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1" r="-1244"/>
          <a:stretch/>
        </p:blipFill>
        <p:spPr bwMode="auto">
          <a:xfrm>
            <a:off x="5663028" y="5157193"/>
            <a:ext cx="739603" cy="796216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Picture 45"/>
          <p:cNvPicPr/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2540219" y="5157193"/>
            <a:ext cx="739603" cy="825557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605809" y="5157193"/>
            <a:ext cx="665642" cy="804972"/>
          </a:xfrm>
          <a:prstGeom prst="rect">
            <a:avLst/>
          </a:prstGeom>
          <a:ln>
            <a:noFill/>
          </a:ln>
        </p:spPr>
      </p:pic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728616" y="5157193"/>
            <a:ext cx="658236" cy="786864"/>
          </a:xfrm>
          <a:prstGeom prst="rect">
            <a:avLst/>
          </a:prstGeom>
          <a:ln>
            <a:noFill/>
          </a:ln>
        </p:spPr>
      </p:pic>
      <p:sp>
        <p:nvSpPr>
          <p:cNvPr id="50" name="TextBox 49"/>
          <p:cNvSpPr txBox="1"/>
          <p:nvPr/>
        </p:nvSpPr>
        <p:spPr>
          <a:xfrm>
            <a:off x="413543" y="5949280"/>
            <a:ext cx="739603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err="1" smtClean="0">
                <a:latin typeface="Arial"/>
                <a:cs typeface="Arial"/>
              </a:rPr>
              <a:t>Dr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Sisa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Pityana</a:t>
            </a:r>
            <a:endParaRPr lang="en-US" sz="800" dirty="0">
              <a:latin typeface="Arial"/>
              <a:cs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404714" y="5949280"/>
            <a:ext cx="935038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err="1" smtClean="0">
                <a:latin typeface="Arial"/>
                <a:cs typeface="Arial"/>
              </a:rPr>
              <a:t>Dr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Gugu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Mhlongo</a:t>
            </a:r>
            <a:endParaRPr lang="en-US" sz="800" dirty="0">
              <a:latin typeface="Arial"/>
              <a:cs typeface="Arial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411414" y="5949280"/>
            <a:ext cx="883966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err="1" smtClean="0">
                <a:latin typeface="Arial"/>
                <a:cs typeface="Arial"/>
              </a:rPr>
              <a:t>Dr</a:t>
            </a:r>
            <a:r>
              <a:rPr lang="en-US" sz="800" dirty="0" smtClean="0">
                <a:latin typeface="Arial"/>
                <a:cs typeface="Arial"/>
              </a:rPr>
              <a:t> Abel </a:t>
            </a:r>
            <a:r>
              <a:rPr lang="en-US" sz="800" dirty="0" err="1" smtClean="0">
                <a:latin typeface="Arial"/>
                <a:cs typeface="Arial"/>
              </a:rPr>
              <a:t>Ramoelo</a:t>
            </a:r>
            <a:endParaRPr lang="en-US" sz="800" dirty="0">
              <a:latin typeface="Arial"/>
              <a:cs typeface="Arial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477160" y="5949280"/>
            <a:ext cx="950824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err="1" smtClean="0">
                <a:latin typeface="Arial"/>
                <a:cs typeface="Arial"/>
              </a:rPr>
              <a:t>Dr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Vhahangwele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Masindi</a:t>
            </a:r>
            <a:endParaRPr lang="en-US" sz="800" dirty="0">
              <a:latin typeface="Arial"/>
              <a:cs typeface="Arial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520932" y="5949280"/>
            <a:ext cx="915164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err="1" smtClean="0">
                <a:latin typeface="Arial"/>
                <a:cs typeface="Arial"/>
              </a:rPr>
              <a:t>Dr</a:t>
            </a:r>
            <a:r>
              <a:rPr lang="en-US" sz="800" dirty="0" smtClean="0">
                <a:latin typeface="Arial"/>
                <a:cs typeface="Arial"/>
              </a:rPr>
              <a:t> David </a:t>
            </a:r>
            <a:r>
              <a:rPr lang="en-US" sz="800" dirty="0" err="1" smtClean="0">
                <a:latin typeface="Arial"/>
                <a:cs typeface="Arial"/>
              </a:rPr>
              <a:t>Motaung</a:t>
            </a:r>
            <a:endParaRPr lang="en-US" sz="800" dirty="0">
              <a:latin typeface="Arial"/>
              <a:cs typeface="Arial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632597" y="5949280"/>
            <a:ext cx="811611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err="1" smtClean="0">
                <a:latin typeface="Arial"/>
                <a:cs typeface="Arial"/>
              </a:rPr>
              <a:t>Dr</a:t>
            </a:r>
            <a:r>
              <a:rPr lang="en-US" sz="800" dirty="0" smtClean="0">
                <a:latin typeface="Arial"/>
                <a:cs typeface="Arial"/>
              </a:rPr>
              <a:t> Patience </a:t>
            </a:r>
            <a:r>
              <a:rPr lang="en-US" sz="800" dirty="0" err="1">
                <a:latin typeface="Arial"/>
                <a:cs typeface="Arial"/>
              </a:rPr>
              <a:t>M</a:t>
            </a:r>
            <a:r>
              <a:rPr lang="en-US" sz="800" dirty="0" err="1" smtClean="0">
                <a:latin typeface="Arial"/>
                <a:cs typeface="Arial"/>
              </a:rPr>
              <a:t>thunzi-Kufa</a:t>
            </a:r>
            <a:endParaRPr lang="en-US" sz="800" dirty="0">
              <a:latin typeface="Arial"/>
              <a:cs typeface="Arial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640709" y="5949280"/>
            <a:ext cx="883619" cy="3385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800" dirty="0" err="1" smtClean="0">
                <a:latin typeface="Arial"/>
                <a:cs typeface="Arial"/>
              </a:rPr>
              <a:t>Dr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Remegia</a:t>
            </a:r>
            <a:r>
              <a:rPr lang="en-US" sz="800" dirty="0" smtClean="0">
                <a:latin typeface="Arial"/>
                <a:cs typeface="Arial"/>
              </a:rPr>
              <a:t> </a:t>
            </a:r>
            <a:r>
              <a:rPr lang="en-US" sz="800" dirty="0" err="1" smtClean="0">
                <a:latin typeface="Arial"/>
                <a:cs typeface="Arial"/>
              </a:rPr>
              <a:t>Modibenia</a:t>
            </a:r>
            <a:endParaRPr lang="en-US" sz="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1549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E3EDAF4E-A638-4648-9F9E-64F64031F878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49" name="think-cell Slide" r:id="rId149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5F976A9B-8B03-449F-9CBD-28231004D6E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ct val="100000"/>
            </a:pPr>
            <a:endParaRPr lang="en-GB" sz="1000" b="1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BB3FD6B-B4CD-492A-851C-BDBB6625A023}"/>
              </a:ext>
            </a:extLst>
          </p:cNvPr>
          <p:cNvSpPr/>
          <p:nvPr/>
        </p:nvSpPr>
        <p:spPr>
          <a:xfrm>
            <a:off x="7070029" y="2611548"/>
            <a:ext cx="863084" cy="3435958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>
              <a:lnSpc>
                <a:spcPct val="90000"/>
              </a:lnSpc>
              <a:buClr>
                <a:prstClr val="white"/>
              </a:buClr>
              <a:buSzPct val="100000"/>
            </a:pPr>
            <a:endParaRPr lang="en-GB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A81A7B-2D78-4CFF-9BBC-F3ECE8033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188640"/>
            <a:ext cx="8229600" cy="1143000"/>
          </a:xfrm>
        </p:spPr>
        <p:txBody>
          <a:bodyPr>
            <a:normAutofit/>
          </a:bodyPr>
          <a:lstStyle/>
          <a:p>
            <a:r>
              <a:rPr lang="en-GB" b="1" dirty="0" smtClean="0"/>
              <a:t>Financial and governanc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23850" y="1667446"/>
            <a:ext cx="8242300" cy="457041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66709FDE-BE76-4ADB-B86B-8C0331534C6B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2552700" y="3589908"/>
            <a:ext cx="311150" cy="571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xmlns="" id="{0E1850EC-1501-49A1-8A19-6AB0B388973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673600" y="3208908"/>
            <a:ext cx="311150" cy="2540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xmlns="" id="{2E066F4C-5922-42D4-BFED-DCCA47CBB32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3968750" y="3462908"/>
            <a:ext cx="311150" cy="1143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xmlns="" id="{486F0F44-09F8-42E8-9637-5494A6A92F7F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3257550" y="3577208"/>
            <a:ext cx="311150" cy="127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9" name="Straight Connector 818">
            <a:extLst>
              <a:ext uri="{FF2B5EF4-FFF2-40B4-BE49-F238E27FC236}">
                <a16:creationId xmlns:a16="http://schemas.microsoft.com/office/drawing/2014/main" xmlns="" id="{0DF2676F-536F-43BC-981F-8FCC4241454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4784725" y="3037458"/>
            <a:ext cx="200025" cy="1270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4" name="Straight Connector 843">
            <a:extLst>
              <a:ext uri="{FF2B5EF4-FFF2-40B4-BE49-F238E27FC236}">
                <a16:creationId xmlns:a16="http://schemas.microsoft.com/office/drawing/2014/main" xmlns="" id="{34FECD78-8B5D-47AB-8AE1-77DAA2F9B80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083300" y="3564508"/>
            <a:ext cx="311150" cy="3175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xmlns="" id="{1B25A236-5AC2-4A9E-9409-53937B12FB7C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6083300" y="3361308"/>
            <a:ext cx="311150" cy="3238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xmlns="" id="{1156D501-16E6-4D03-A321-780F7F8540A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153150" y="3248596"/>
            <a:ext cx="241300" cy="246063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xmlns="" id="{0DF9EC2C-37B3-48F9-BD21-87090ADFDA1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5489575" y="3089846"/>
            <a:ext cx="200025" cy="93663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xmlns="" id="{1790594E-13A8-4098-A521-26F1CC9CDE3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5378450" y="3405758"/>
            <a:ext cx="311150" cy="1587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7" name="Straight Connector 816">
            <a:extLst>
              <a:ext uri="{FF2B5EF4-FFF2-40B4-BE49-F238E27FC236}">
                <a16:creationId xmlns:a16="http://schemas.microsoft.com/office/drawing/2014/main" xmlns="" id="{C586118E-A699-46E1-BB81-10CF2DDB68B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V="1">
            <a:off x="4673600" y="3405758"/>
            <a:ext cx="311150" cy="2476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6" name="Straight Connector 815">
            <a:extLst>
              <a:ext uri="{FF2B5EF4-FFF2-40B4-BE49-F238E27FC236}">
                <a16:creationId xmlns:a16="http://schemas.microsoft.com/office/drawing/2014/main" xmlns="" id="{0F4E916D-9CF5-40B2-9E17-70FE350092E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V="1">
            <a:off x="4673600" y="4237608"/>
            <a:ext cx="311150" cy="3238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6" name="Straight Connector 805">
            <a:extLst>
              <a:ext uri="{FF2B5EF4-FFF2-40B4-BE49-F238E27FC236}">
                <a16:creationId xmlns:a16="http://schemas.microsoft.com/office/drawing/2014/main" xmlns="" id="{E258176E-A4CB-42C3-9DE7-2AF5BFE0D35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V="1">
            <a:off x="3968750" y="3234308"/>
            <a:ext cx="311150" cy="762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7" name="Straight Connector 806">
            <a:extLst>
              <a:ext uri="{FF2B5EF4-FFF2-40B4-BE49-F238E27FC236}">
                <a16:creationId xmlns:a16="http://schemas.microsoft.com/office/drawing/2014/main" xmlns="" id="{E90FBEA9-913E-4A6A-B6F5-D782CD0C740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V="1">
            <a:off x="3968750" y="3227958"/>
            <a:ext cx="311150" cy="698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xmlns="" id="{56B77214-582B-42DF-BDD5-18C957E57B24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5378450" y="4237608"/>
            <a:ext cx="311150" cy="1524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xmlns="" id="{0CB3EFAD-3541-4844-9C21-B3A3CD7B790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2552700" y="3837558"/>
            <a:ext cx="311150" cy="698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0" name="Straight Connector 769">
            <a:extLst>
              <a:ext uri="{FF2B5EF4-FFF2-40B4-BE49-F238E27FC236}">
                <a16:creationId xmlns:a16="http://schemas.microsoft.com/office/drawing/2014/main" xmlns="" id="{FBBA6457-7E58-41C4-AECB-169FC91F9ED1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V="1">
            <a:off x="1847850" y="3437508"/>
            <a:ext cx="311150" cy="127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4" name="Straight Connector 803">
            <a:extLst>
              <a:ext uri="{FF2B5EF4-FFF2-40B4-BE49-F238E27FC236}">
                <a16:creationId xmlns:a16="http://schemas.microsoft.com/office/drawing/2014/main" xmlns="" id="{2E46E15F-6BA2-4150-8F0D-8D61B05BB82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V="1">
            <a:off x="3968750" y="3653408"/>
            <a:ext cx="311150" cy="1270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6" name="Straight Connector 765">
            <a:extLst>
              <a:ext uri="{FF2B5EF4-FFF2-40B4-BE49-F238E27FC236}">
                <a16:creationId xmlns:a16="http://schemas.microsoft.com/office/drawing/2014/main" xmlns="" id="{53842FEB-2718-451C-9633-2472DC5B7E5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V="1">
            <a:off x="1847850" y="4771008"/>
            <a:ext cx="311150" cy="1524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xmlns="" id="{6D4656FC-C1A4-49AB-A263-847500705EC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V="1">
            <a:off x="1847850" y="3907408"/>
            <a:ext cx="311150" cy="889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2" name="Straight Connector 781">
            <a:extLst>
              <a:ext uri="{FF2B5EF4-FFF2-40B4-BE49-F238E27FC236}">
                <a16:creationId xmlns:a16="http://schemas.microsoft.com/office/drawing/2014/main" xmlns="" id="{C21F8839-B1B6-4AAA-BB20-81D177F004F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V="1">
            <a:off x="2720975" y="3323208"/>
            <a:ext cx="142875" cy="52388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1" name="Straight Connector 790">
            <a:extLst>
              <a:ext uri="{FF2B5EF4-FFF2-40B4-BE49-F238E27FC236}">
                <a16:creationId xmlns:a16="http://schemas.microsoft.com/office/drawing/2014/main" xmlns="" id="{7DA6E7CC-CF80-40F4-89F7-D169F535CFA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V="1">
            <a:off x="3257550" y="4669408"/>
            <a:ext cx="311150" cy="508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xmlns="" id="{9AF5F8FF-C21A-4994-B1B3-15506670C48B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V="1">
            <a:off x="3257550" y="3780408"/>
            <a:ext cx="311150" cy="571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8" name="Straight Connector 757">
            <a:extLst>
              <a:ext uri="{FF2B5EF4-FFF2-40B4-BE49-F238E27FC236}">
                <a16:creationId xmlns:a16="http://schemas.microsoft.com/office/drawing/2014/main" xmlns="" id="{B99EECCC-FBB0-4872-9358-171AB46048CD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>
            <a:off x="1143000" y="3424808"/>
            <a:ext cx="311150" cy="254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xmlns="" id="{FD99A7D9-5B4E-4943-9CFB-C3B0873051F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V="1">
            <a:off x="1847850" y="3450208"/>
            <a:ext cx="311150" cy="127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7" name="Straight Connector 756">
            <a:extLst>
              <a:ext uri="{FF2B5EF4-FFF2-40B4-BE49-F238E27FC236}">
                <a16:creationId xmlns:a16="http://schemas.microsoft.com/office/drawing/2014/main" xmlns="" id="{A8CBA9BB-F308-4D4B-8A32-A088B03063DF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>
            <a:off x="1143000" y="3443858"/>
            <a:ext cx="311150" cy="190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6" name="Straight Connector 875">
            <a:extLst>
              <a:ext uri="{FF2B5EF4-FFF2-40B4-BE49-F238E27FC236}">
                <a16:creationId xmlns:a16="http://schemas.microsoft.com/office/drawing/2014/main" xmlns="" id="{21A2EB09-3BF2-4973-963D-61200FAC6312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>
            <a:off x="1143000" y="4878958"/>
            <a:ext cx="311150" cy="444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8" name="Straight Connector 777">
            <a:extLst>
              <a:ext uri="{FF2B5EF4-FFF2-40B4-BE49-F238E27FC236}">
                <a16:creationId xmlns:a16="http://schemas.microsoft.com/office/drawing/2014/main" xmlns="" id="{016211AC-D1B0-4E82-B6A8-73180247F0F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V="1">
            <a:off x="2552700" y="4720208"/>
            <a:ext cx="311150" cy="508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xmlns="" id="{D2517A68-7E5B-4D42-8E0B-EA75B673FB5F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gray">
          <a:xfrm>
            <a:off x="1143000" y="3926458"/>
            <a:ext cx="311150" cy="698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xmlns="" id="{012E5706-621A-4114-97C8-C848D380CC93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V="1">
            <a:off x="2733675" y="3342258"/>
            <a:ext cx="130175" cy="444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D5A36BB4-06B8-4FDB-989A-97D0E5540955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gray">
          <a:xfrm>
            <a:off x="1143000" y="3691508"/>
            <a:ext cx="311150" cy="190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A587D488-8C55-41CA-90CB-492A394D2D80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V="1">
            <a:off x="1847850" y="3647058"/>
            <a:ext cx="311150" cy="635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xmlns="" id="{0B30EC4C-97C1-4B1C-A4C3-E91518009C3F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gray">
          <a:xfrm>
            <a:off x="5489575" y="3083496"/>
            <a:ext cx="200025" cy="93663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xmlns="" id="{313A2C6A-E146-44D1-9630-4E604AF03548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6148388" y="3248596"/>
            <a:ext cx="246063" cy="246063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3" name="Straight Connector 802">
            <a:extLst>
              <a:ext uri="{FF2B5EF4-FFF2-40B4-BE49-F238E27FC236}">
                <a16:creationId xmlns:a16="http://schemas.microsoft.com/office/drawing/2014/main" xmlns="" id="{AFD3DCE9-140B-46DA-8768-C6CF9FFF4D30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 flipV="1">
            <a:off x="3968750" y="4561458"/>
            <a:ext cx="311150" cy="1079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5" name="Straight Connector 794">
            <a:extLst>
              <a:ext uri="{FF2B5EF4-FFF2-40B4-BE49-F238E27FC236}">
                <a16:creationId xmlns:a16="http://schemas.microsoft.com/office/drawing/2014/main" xmlns="" id="{DFE29BD4-C53E-4FF6-8AE0-BFF586673B2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 flipV="1">
            <a:off x="3257550" y="3297808"/>
            <a:ext cx="311150" cy="254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xmlns="" id="{632939E7-2C4C-4B91-BBBC-D2DA64845EF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6083300" y="4390008"/>
            <a:ext cx="311150" cy="3175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xmlns="" id="{FB455DEC-F3E3-468C-9082-2EB4C97B938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V="1">
            <a:off x="3257550" y="3310508"/>
            <a:ext cx="311150" cy="3175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xmlns="" id="{E32B74A7-593A-42BD-8F43-9442D3D752FD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V="1">
            <a:off x="4776788" y="3031108"/>
            <a:ext cx="207963" cy="131763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xmlns="" id="{4E7E03E0-3CF3-4C74-A143-29DFD28AB7B3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>
            <a:off x="5378450" y="3208908"/>
            <a:ext cx="311150" cy="152400"/>
          </a:xfrm>
          <a:prstGeom prst="line">
            <a:avLst/>
          </a:prstGeom>
          <a:ln w="9525">
            <a:solidFill>
              <a:srgbClr val="000000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Object 55">
            <a:extLst>
              <a:ext uri="{FF2B5EF4-FFF2-40B4-BE49-F238E27FC236}">
                <a16:creationId xmlns:a16="http://schemas.microsoft.com/office/drawing/2014/main" xmlns="" id="{D9DEBCEF-7EDE-4336-A86C-D2675A7D91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8144468"/>
              </p:ext>
            </p:extLst>
          </p:nvPr>
        </p:nvGraphicFramePr>
        <p:xfrm>
          <a:off x="457201" y="2802508"/>
          <a:ext cx="6591177" cy="3390987"/>
        </p:xfrm>
        <a:graphic>
          <a:graphicData uri="http://schemas.openxmlformats.org/presentationml/2006/ole">
            <p:oleObj spid="_x0000_s5350" name="Chart" r:id="rId150" imgW="6591244" imgH="3390984" progId="MSGraph.Chart.8">
              <p:embed followColorScheme="full"/>
            </p:oleObj>
          </a:graphicData>
        </a:graphic>
      </p:graphicFrame>
      <p:sp>
        <p:nvSpPr>
          <p:cNvPr id="278" name="Text Placeholder 2">
            <a:extLst>
              <a:ext uri="{FF2B5EF4-FFF2-40B4-BE49-F238E27FC236}">
                <a16:creationId xmlns:a16="http://schemas.microsoft.com/office/drawing/2014/main" xmlns="" id="{963CCFB8-6E9E-4491-92E7-1BE40ADF0F7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60350" y="420268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E12E1EB9-A092-4F7B-B054-96A5C2F514FE}" type="datetime'''''''''''''''1'''''''',''''2''''''''''''''''''''0''''0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2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xmlns="" id="{D898C064-E551-426F-B4A8-BFB8C540090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46075" y="570128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D543299E-DA67-47CD-B45E-0EA7AB2A5A8C}" type="datetime'''''''''''''''''''''''''2''''''''''''''''0''''''0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2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xmlns="" id="{E9BE1F56-FD06-437A-8703-A595E408F00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60350" y="330098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AE8268C4-2D31-41DA-8427-F0E5E077DB51}" type="datetime'1'''''''''''''''',''''''''''8''''''''''''''''''''''00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8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xmlns="" id="{94EC97AD-2028-43EE-9200-C774979E906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46075" y="540283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9633EBF-36E6-4A1D-A4F4-0F3A05746D10}" type="datetime'''4''''0''0''''''''''''''''''''''''''''''''''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4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xmlns="" id="{7D0D7F62-FBD9-4942-9EF6-646CC66280C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60350" y="389788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D8DDC3E9-1311-4AC8-9324-6E4C05058CBE}" type="datetime'''''''''''''''''1'''',''''40''''''''''0''''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4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xmlns="" id="{C1B49B72-FDEA-4C38-B211-BEC1075FE1B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60350" y="359943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531369C0-34DF-4150-B23F-954D845D1F4A}" type="datetime'''''1'''''''',''''''''6''0''0''''''''''''''''''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6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xmlns="" id="{D3283BB0-36D1-40D1-8228-ECC94E8927FC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46075" y="509803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12DCEA17-5CEF-4A4D-AD8C-53E54CB41552}" type="datetime'60''''''''''''''''''''''''''0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6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3" name="Text Placeholder 2">
            <a:extLst>
              <a:ext uri="{FF2B5EF4-FFF2-40B4-BE49-F238E27FC236}">
                <a16:creationId xmlns:a16="http://schemas.microsoft.com/office/drawing/2014/main" xmlns="" id="{155CB524-4486-4DC2-B810-8D43D478C9A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46075" y="584733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7BAEF52-9CC9-4606-9897-D3D73CA34EE9}" type="datetime'''''''''''''''''''''''''''''''''1''''0''''0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8" name="Text Placeholder 2">
            <a:extLst>
              <a:ext uri="{FF2B5EF4-FFF2-40B4-BE49-F238E27FC236}">
                <a16:creationId xmlns:a16="http://schemas.microsoft.com/office/drawing/2014/main" xmlns="" id="{A42EDD0E-9DF9-4E72-A0A1-C837E55A39B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60350" y="434873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70515D29-866E-41D3-BC14-E3023FD2E1D3}" type="datetime'''''1,''''1''''''0''''''''''''0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1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xmlns="" id="{694A22BB-198B-43B1-A5E6-F3F4A99A893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60350" y="405028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5298C84F-520B-4103-B5DA-D747189A9F1B}" type="datetime'1'',''''''3''''''''''''''''0''''''''''0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3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28" name="Text Placeholder 2">
            <a:extLst>
              <a:ext uri="{FF2B5EF4-FFF2-40B4-BE49-F238E27FC236}">
                <a16:creationId xmlns:a16="http://schemas.microsoft.com/office/drawing/2014/main" xmlns="" id="{CA0B873B-BCED-4427-80BA-1F068FB9CAC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60350" y="450113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9C635999-52DC-4603-8773-0B3A69620A3C}" type="datetime'1'''''''''',''''''''''''''''''''''''0''0''''''''''''''0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0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08BC9CBC-8174-4EB7-9BAC-37B1A6A5BE1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60375" y="5999733"/>
            <a:ext cx="571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14A2C15-DBB0-48B9-934B-A4F5DC84A326}" type="datetime'''''''''''''''''''''''''''''''''''''''0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xmlns="" id="{2334722C-B983-42BD-B44B-A35BADB7AC0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60350" y="314858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4DBC866-1C2D-4FC9-A8FC-4889DDDC6607}" type="datetime'''''''1'''''''''',9''0''''''''''''''''''''0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9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5" name="Text Placeholder 2">
            <a:extLst>
              <a:ext uri="{FF2B5EF4-FFF2-40B4-BE49-F238E27FC236}">
                <a16:creationId xmlns:a16="http://schemas.microsoft.com/office/drawing/2014/main" xmlns="" id="{753D7E96-E71E-4D81-8E6F-51CAEDED4A09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46075" y="525043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5AE7B11C-D479-4F1C-A2ED-17E93176F00F}" type="datetime'''''5''''0''0''''''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5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xmlns="" id="{0FAC00BB-974A-4820-9B0D-7F31C65D463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46075" y="554888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B691AAB7-954F-45EC-9D2A-194E5CF3324C}" type="datetime'''''''''''''''''''3''''0''''''''''''''0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3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xmlns="" id="{4D07315F-2381-4333-BA14-03AE9873955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46075" y="479958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10EA52C4-5105-4219-B52D-A43DD619CD8F}" type="datetime'''''''''''''''''''''''''''''''''''''8''''''''''''''0''''''0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8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xmlns="" id="{769EA48C-71E1-42CF-B27F-5EC5ABE8CAED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346075" y="495198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6089CBA-B114-4C73-847A-6C9BB535C52E}" type="datetime'''''''''''''''''''70''0''''''''''''''''''''''''''''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7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81" name="Text Placeholder 2">
            <a:extLst>
              <a:ext uri="{FF2B5EF4-FFF2-40B4-BE49-F238E27FC236}">
                <a16:creationId xmlns:a16="http://schemas.microsoft.com/office/drawing/2014/main" xmlns="" id="{055DA88A-18DD-413C-B2F2-7895CF1527D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260350" y="344703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237DFA1-C67E-45F1-B2A6-F2694B56AFB3}" type="datetime'''''''''''''''''''1'''''''''',''''''7''''''''''''0''0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7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80" name="Text Placeholder 2">
            <a:extLst>
              <a:ext uri="{FF2B5EF4-FFF2-40B4-BE49-F238E27FC236}">
                <a16:creationId xmlns:a16="http://schemas.microsoft.com/office/drawing/2014/main" xmlns="" id="{1837074D-0815-4376-BED6-479F3F182D5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260350" y="375183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BED3D021-0449-4008-8103-D7998070D1CA}" type="datetime'''''''''''''1'''''',''5''''''0''''''''''''''''0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5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83" name="Text Placeholder 2">
            <a:extLst>
              <a:ext uri="{FF2B5EF4-FFF2-40B4-BE49-F238E27FC236}">
                <a16:creationId xmlns:a16="http://schemas.microsoft.com/office/drawing/2014/main" xmlns="" id="{63923BB3-655A-4E9F-8922-274EFBD6F229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260350" y="285013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30E0BB8B-54E5-4CDE-A29D-878AB114B694}" type="datetime'''''''''''''2'''''''''',''''1''''''00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2,1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33" name="Text Placeholder 2">
            <a:extLst>
              <a:ext uri="{FF2B5EF4-FFF2-40B4-BE49-F238E27FC236}">
                <a16:creationId xmlns:a16="http://schemas.microsoft.com/office/drawing/2014/main" xmlns="" id="{FEFE52FF-3578-47E9-8CFE-B599F6CD0C9C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260350" y="3002533"/>
            <a:ext cx="257175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33A601B-CC69-48BA-84BE-CD13326EA816}" type="datetime'''''''''''''''''''''''2'''''''''''''''',0''''0''0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2,0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7" name="Text Placeholder 2">
            <a:extLst>
              <a:ext uri="{FF2B5EF4-FFF2-40B4-BE49-F238E27FC236}">
                <a16:creationId xmlns:a16="http://schemas.microsoft.com/office/drawing/2014/main" xmlns="" id="{5F60E60B-53BE-45DB-8A7C-B02F1CC6296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346075" y="4647183"/>
            <a:ext cx="171450" cy="109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9439203A-4029-4A3B-8597-4D84BDF896E4}" type="datetime'''''90''''''''''''0'''''''''''''''''''">
              <a:rPr lang="en-GB" altLang="en-US" sz="1000" b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pPr marL="0" indent="0"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900</a:t>
            </a:fld>
            <a:endParaRPr lang="en-GB" sz="1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03600562-C401-4C9C-9865-31E9317059B3}"/>
              </a:ext>
            </a:extLst>
          </p:cNvPr>
          <p:cNvCxnSpPr>
            <a:cxnSpLocks/>
          </p:cNvCxnSpPr>
          <p:nvPr>
            <p:custDataLst>
              <p:tags r:id="rId65"/>
            </p:custDataLst>
          </p:nvPr>
        </p:nvCxnSpPr>
        <p:spPr bwMode="gray">
          <a:xfrm>
            <a:off x="5181600" y="2585021"/>
            <a:ext cx="1409700" cy="463550"/>
          </a:xfrm>
          <a:prstGeom prst="line">
            <a:avLst/>
          </a:prstGeom>
          <a:ln w="25400">
            <a:solidFill>
              <a:srgbClr val="A5A5A5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xmlns="" id="{F04D5E68-0382-49CA-969C-808CF45611D1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 flipH="1">
            <a:off x="6738938" y="3494658"/>
            <a:ext cx="65087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xmlns="" id="{9FF3D51D-5651-41AB-B2E9-4A68C044AD4D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 flipH="1">
            <a:off x="5329238" y="3034283"/>
            <a:ext cx="6508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xmlns="" id="{AE87245E-D4B8-4198-B468-1210E47FF0C0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 flipH="1">
            <a:off x="6034088" y="3180333"/>
            <a:ext cx="65087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xmlns="" id="{8628E1A6-3F2F-4665-A149-051405749824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 flipH="1">
            <a:off x="4624388" y="3231133"/>
            <a:ext cx="65087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xmlns="" id="{54D56968-CCA0-4749-AA82-2611CD84D889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 flipH="1">
            <a:off x="2503488" y="3443858"/>
            <a:ext cx="6508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B18C28D-3946-4D67-8A4B-1DB37BF16163}"/>
              </a:ext>
            </a:extLst>
          </p:cNvPr>
          <p:cNvCxnSpPr>
            <a:cxnSpLocks/>
          </p:cNvCxnSpPr>
          <p:nvPr>
            <p:custDataLst>
              <p:tags r:id="rId71"/>
            </p:custDataLst>
          </p:nvPr>
        </p:nvCxnSpPr>
        <p:spPr bwMode="gray">
          <a:xfrm flipV="1">
            <a:off x="946150" y="2585021"/>
            <a:ext cx="4235450" cy="393700"/>
          </a:xfrm>
          <a:prstGeom prst="line">
            <a:avLst/>
          </a:prstGeom>
          <a:ln w="25400">
            <a:solidFill>
              <a:srgbClr val="7F7F7F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0" name="Text Placeholder 2">
            <a:extLst>
              <a:ext uri="{FF2B5EF4-FFF2-40B4-BE49-F238E27FC236}">
                <a16:creationId xmlns:a16="http://schemas.microsoft.com/office/drawing/2014/main" xmlns="" id="{BC5587A6-3608-4CE4-9608-23D2B2344B26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689475" y="3162871"/>
            <a:ext cx="698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79646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63EBF6FB-43AD-40A7-A011-E51C468149C3}" type="datetime'''''''''''''''''''''''''''''''''7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7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xmlns="" id="{B29365E2-B520-4338-8A3F-E8842B7E6858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024438" y="5077396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C0504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7406B56-0B99-4EDE-9CD2-5DB8A42CEA1F}" type="datetime'''''1'''''''',''''''''2''''''''''''''''''1''2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212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0" name="Text Placeholder 1">
            <a:extLst>
              <a:ext uri="{FF2B5EF4-FFF2-40B4-BE49-F238E27FC236}">
                <a16:creationId xmlns:a16="http://schemas.microsoft.com/office/drawing/2014/main" xmlns="" id="{ED9A83A1-570B-49F9-90A1-98B87563E2EF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02443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F55A4EC3-CC74-4CEF-AE2C-0AEC43D842A1}" type="datetime'FY''''''''1''''''''''''''''''''''''''''''''''''''''6''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6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xmlns="" id="{09ECE39B-4AAF-4979-98CD-10E12D088013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4371975" y="40391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6A9D14F6-B24E-4352-9A04-E31BADDC4466}" type="datetime'''''60''''''''''''''''''''''''''4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604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xmlns="" id="{49EF1DB2-816D-47C8-A50A-9AD79C47F9D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6099175" y="3112071"/>
            <a:ext cx="698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79646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4AB44ADF-8A4D-4A55-B99D-B11CC2AAB01D}" type="datetime'''''''''''4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4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Text Placeholder 1">
            <a:extLst>
              <a:ext uri="{FF2B5EF4-FFF2-40B4-BE49-F238E27FC236}">
                <a16:creationId xmlns:a16="http://schemas.microsoft.com/office/drawing/2014/main" xmlns="" id="{F0A97A5F-6A0E-47F1-BB95-BAD832EEE3D2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78898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5B9AFFC5-3A29-4262-A249-C9636D65C02B}" type="datetime'''''''''F''''''''''''''''''''''''''Y''''''''''''''''''''''10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0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xmlns="" id="{F2ADD080-BDEC-432B-BEF1-C42CF15CB18F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3663950" y="52932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3FA11716-E43D-4EB3-BF3B-6E241A03A8DB}" type="datetime'''9''''''''''''''''''''''2''1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921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xmlns="" id="{2A255AAD-0ECF-4F2C-B101-B886221A7B5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2251075" y="42709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C8A82BC8-35B6-45B2-A9E1-226868D39CA4}" type="datetime'''''''''5''''7''''''''''''''''''''6''''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576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xmlns="" id="{A529384A-3AA9-46DD-AA21-6A684BED6AE7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2955925" y="36454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8E4A45F9-6EC8-4996-9AC6-A096736C4461}" type="datetime'''''''''''''''''''''''''''''''''''''''''16''''''''''3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63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xmlns="" id="{FAEB3523-6CFC-443B-9088-B7F93E4E6A5B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219868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785997FC-9FDE-4871-BB21-5A89559C2803}" type="datetime'''''''''''FY1''''2''''''''''''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2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74" name="Text Placeholder 1">
            <a:extLst>
              <a:ext uri="{FF2B5EF4-FFF2-40B4-BE49-F238E27FC236}">
                <a16:creationId xmlns:a16="http://schemas.microsoft.com/office/drawing/2014/main" xmlns="" id="{46F26B68-F4DA-4D29-8C69-834940753A30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290353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20170AC9-9EAA-4F8F-821B-EF67AD10AC79}" type="datetime'F''Y''''''''''''''''''1''''''''''''''''3''''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3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71" name="Text Placeholder 1">
            <a:extLst>
              <a:ext uri="{FF2B5EF4-FFF2-40B4-BE49-F238E27FC236}">
                <a16:creationId xmlns:a16="http://schemas.microsoft.com/office/drawing/2014/main" xmlns="" id="{568217C9-CDCB-4D6B-A688-C6E156275D8F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49383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18C799ED-6EF2-4ACA-A9E7-ABD94681F786}" type="datetime'''''F''''''''''''''Y''''''''1''''''''''1''''''''''''''''''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1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xmlns="" id="{83E0975D-F035-4778-A27D-E53A22586500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3663950" y="41566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A1FA8A25-FAD4-4F45-9E51-07C61260AE94}" type="datetime'''5''''''''''''''''9''''''''''''''''''''''''6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596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xmlns="" id="{E1D2033D-6D65-4E9F-87D2-FF98ADBA64BC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2955925" y="42106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5E9330D2-323C-45D7-8119-AC03301731CB}" type="datetime'''''''''''5''''''''''''''''''88''''''''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588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xmlns="" id="{CF322157-B057-4678-8CB8-90E3588829DD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2955925" y="53186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22276E6-8257-466C-84CD-9EF17A6352B7}" type="datetime'''''''''''''''''''''''''''''''''''''''''''''''8''91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891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xmlns="" id="{389DCDC6-FE53-4E7E-A0D6-60E8F09EFBC5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2955925" y="33978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66B06B2-6A33-425D-BC1D-89170391048F}" type="datetime'''''''''''''''''''1''''''6''''''''''6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66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xmlns="" id="{C5F59382-7103-41F6-B1F1-CE774BB17B60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2990850" y="3264471"/>
            <a:ext cx="139700" cy="136525"/>
          </a:xfrm>
          <a:prstGeom prst="rect">
            <a:avLst/>
          </a:prstGeom>
          <a:solidFill>
            <a:srgbClr val="F79646"/>
          </a:solidFill>
          <a:ex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15E45581-9325-4E26-9A1E-8A1A65801D00}" type="datetime'''''''''''1''''''''''''''''''''''''''''''''''3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3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xmlns="" id="{702340AF-1D60-4AC8-AC74-BF9A05C07E28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2568575" y="337559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79646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8241C05-632D-47C1-9D8D-B131D8DCE235}" type="datetime'''''''''''''''''''''''''''''10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0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xmlns="" id="{2A2586FF-2D1F-497A-A0EC-D4FC3D2BBC89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2251075" y="34803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684587A5-7767-4FE1-89C0-624C90A2A4E3}" type="datetime'''''''''''''''''''''''133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33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xmlns="" id="{B1D63291-FC31-49C9-AA4C-DEDA0747C72F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1616075" y="3388296"/>
            <a:ext cx="69850" cy="136525"/>
          </a:xfrm>
          <a:prstGeom prst="rect">
            <a:avLst/>
          </a:prstGeom>
          <a:solidFill>
            <a:srgbClr val="F79646"/>
          </a:solidFill>
          <a:ex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43513B1-73AE-4D1A-B6E4-2FB9054EFD41}" type="datetime'''''''''''''''''''''''''''''''9''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9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xmlns="" id="{7EEB568E-2C4F-4ED9-9CB4-060C22852830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2251075" y="53440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6F54AC8-2E79-4AE8-B465-A4640D222B44}" type="datetime'''''''''''''''''85''''5''''''''''''''''''''''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855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xmlns="" id="{F8DD3C3B-B6BB-446C-B5ED-0F5FBC15A8DB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1546225" y="35184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7C8E3AA2-745E-43AB-A47F-DBF7B0869E34}" type="datetime'''''''''''''''''''''1''''''''''''''''6''''''''''''''''''''''1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61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xmlns="" id="{5FEEB17C-DBD8-4587-8618-B28346A9E69F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1546225" y="37851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C428FEEF-EC0F-4664-9A6E-C8B0F928ABCF}" type="datetime'''''''''''''''''''1''9''''''3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93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xmlns="" id="{8A01D786-E309-4C36-8B40-CCE9D89CD4D7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2251075" y="37089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40A96E04-C05B-4017-9CED-845453C6BFDF}" type="datetime'1''''''''''''7''''''''''''''''3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73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xmlns="" id="{0F1CD1CF-0DEC-4440-B070-731F59A47FAA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1546225" y="43915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58A3EAE-3E7E-4E07-8222-B6156324EC8E}" type="datetime'''''''''''''''''6''1''''''''''''''''''''''''''''5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615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xmlns="" id="{CC1E371B-2103-4F72-94D6-03974E97EF2E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1546225" y="54202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DB7FEE19-8CDD-4EBB-BBB8-EEDB9166C37F}" type="datetime'7''''''''''''''''''''''''''''5''''''''''''''''''''''''''6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756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xmlns="" id="{E75E3E09-355B-42DE-B9EE-A3E87BF2DD90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781675" y="39089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BB21D1D-925A-4CB1-BD89-FDCC8D175327}" type="datetime'''''''''''''''''''''''''''''''''''5''''''''''''5''''3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553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xmlns="" id="{8415ECE4-01C6-4DF1-A771-8D001B06774B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5729288" y="5153596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C0504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9FB97805-65CD-4A0C-A74A-BC651B77C341}" type="datetime'''''''''''''''''''''1'''''',''1''''''''''''''''0''''''7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107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xmlns="" id="{B2088B3F-15D9-488E-ADB1-0EF6DDB2BE43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3663950" y="33755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8EB4E3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BD101B17-364D-4D57-8624-F3EF48E13832}" type="datetime'''''''''1''''''7''''''''''''''''''''''''5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75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xmlns="" id="{81BEB35B-1C5D-43A6-B616-FCA603800B8D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6804025" y="3426396"/>
            <a:ext cx="698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79646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780B39AE-13D2-4D9E-B77D-8053935F0835}" type="datetime'''''''3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3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xmlns="" id="{C7FCD975-F70A-4C69-B19A-E503714202EA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2881313" y="2685033"/>
            <a:ext cx="365125" cy="193675"/>
          </a:xfrm>
          <a:prstGeom prst="ellipse">
            <a:avLst/>
          </a:prstGeom>
          <a:solidFill>
            <a:srgbClr val="7F7F7F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A38C458D-BC1F-4BA4-BC46-DD0882426B9A}" type="datetime'''''''''''''''+''''2''''''''''''%'''''''''''''''''''''''">
              <a:rPr lang="en-GB" altLang="en-US" sz="1000" b="1" i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+2%</a:t>
            </a:fld>
            <a:endParaRPr lang="en-GB" sz="1000" b="1" i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3" name="Text Placeholder 1">
            <a:extLst>
              <a:ext uri="{FF2B5EF4-FFF2-40B4-BE49-F238E27FC236}">
                <a16:creationId xmlns:a16="http://schemas.microsoft.com/office/drawing/2014/main" xmlns="" id="{F25E257C-6BA7-41CF-A088-6CE874AEDD50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643413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8C534FE9-6964-4B41-9343-CA1E580423F2}" type="datetime'F''''''''''''''''''''''''''''Y''1''''''''''''''8''''''''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8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xmlns="" id="{C8D96EC3-1E58-475C-AF8C-6281D3F7749D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076825" y="30549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4B124403-2E10-4F7A-BC9F-F7F039561B17}" type="datetime'''''''''''''''''''1''''''''1''''''''4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14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xmlns="" id="{C0BA3683-B24C-407F-8734-EDC9DD030500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6486525" y="37153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E81771A8-EA3F-4687-A726-5223AC09F1FC}" type="datetime'13''''''''''''''''''''''0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30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xmlns="" id="{ABCFA5B6-70B4-464D-95FB-B637B82FAA45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5394325" y="2966021"/>
            <a:ext cx="698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79646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63093BD2-AD19-49F6-81DC-E6EC9B95F0F8}" type="datetime'''''''''''''''''''4''''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4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xmlns="" id="{CD3CFEDB-7F5B-406E-8812-48A9CB362A6D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3698875" y="3235896"/>
            <a:ext cx="139700" cy="136525"/>
          </a:xfrm>
          <a:prstGeom prst="rect">
            <a:avLst/>
          </a:prstGeom>
          <a:solidFill>
            <a:srgbClr val="F79646"/>
          </a:solidFill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A068F675-C245-4EFB-9A9C-C92434969042}" type="datetime'''''''''''''''''''''''''''''1''''''2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2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xmlns="" id="{47454440-F35E-41F0-81DA-38509487D895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5727700" y="2719958"/>
            <a:ext cx="319088" cy="193675"/>
          </a:xfrm>
          <a:prstGeom prst="ellipse">
            <a:avLst/>
          </a:prstGeom>
          <a:solidFill>
            <a:srgbClr val="7F7F7F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A07C1823-F302-4751-B7F9-61643E048FE9}" type="datetime'-''''''''''''''''8%'">
              <a:rPr lang="en-GB" altLang="en-US" sz="1000" b="1" i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-8%</a:t>
            </a:fld>
            <a:endParaRPr lang="en-GB" sz="1000" b="1" i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xmlns="" id="{70B8EE6A-B87B-4970-BB48-7361EE06EA2A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6486525" y="42264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61304675-2B3E-4C2A-AB4E-67C894105BC2}" type="datetime'''''''''''''''''''''''''''5''''''''''''5''''0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550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xmlns="" id="{537602CD-96DA-4CA0-9359-DBB8389997EB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6486525" y="53123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C0504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C8DD961-6B9D-4F12-B76C-F0FE0560774B}" type="datetime'8''''''''''''''''''''''''''''''''''''''''9''''''''''9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899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7" name="Text Placeholder 1">
            <a:extLst>
              <a:ext uri="{FF2B5EF4-FFF2-40B4-BE49-F238E27FC236}">
                <a16:creationId xmlns:a16="http://schemas.microsoft.com/office/drawing/2014/main" xmlns="" id="{A25D94AA-4ADB-4675-A67B-035F0083707E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3611563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782D7A6D-D6A2-4072-A9BF-E0960F515F58}" type="datetime'''''''''''''''''''''''''''F''''''''Y''''''''''''''14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4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72" name="Text Placeholder 1">
            <a:extLst>
              <a:ext uri="{FF2B5EF4-FFF2-40B4-BE49-F238E27FC236}">
                <a16:creationId xmlns:a16="http://schemas.microsoft.com/office/drawing/2014/main" xmlns="" id="{28CAD3A8-03BA-40D3-8223-6E03CAC93280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431958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88ECD9C7-F5E0-4D56-BA37-4F115C6A1964}" type="datetime'''''''''''F''Y''''''''''1''5''''''''''''''''''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5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xmlns="" id="{72C6D9A1-8FCF-43B6-81E1-012C2A77210C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5781675" y="33946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79D2A159-1969-4338-8439-8D45EAFF345B}" type="datetime'''''''''''''''135''''''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35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9" name="Text Placeholder 1">
            <a:extLst>
              <a:ext uri="{FF2B5EF4-FFF2-40B4-BE49-F238E27FC236}">
                <a16:creationId xmlns:a16="http://schemas.microsoft.com/office/drawing/2014/main" xmlns="" id="{26F15ACE-8A40-4762-BE95-D0B32318FC54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5729288" y="6171183"/>
            <a:ext cx="3143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Clr>
                <a:srgbClr val="EEECE1"/>
              </a:buClr>
              <a:buFont typeface="Arial" pitchFamily="34" charset="0"/>
              <a:buNone/>
            </a:pPr>
            <a:fld id="{58973319-DFBD-422C-AC93-9A7AC5A45745}" type="datetime'F''''''''''''Y''''''''''''1''''''''''''''''''7'''''''">
              <a:rPr lang="en-GB" altLang="en-US" sz="1000" b="1">
                <a:solidFill>
                  <a:srgbClr val="032C5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Clr>
                  <a:srgbClr val="EEECE1"/>
                </a:buClr>
                <a:buFont typeface="Arial" pitchFamily="34" charset="0"/>
                <a:buNone/>
              </a:pPr>
              <a:t>FY17</a:t>
            </a:fld>
            <a:endParaRPr lang="en-GB" sz="1000" b="1" dirty="0">
              <a:solidFill>
                <a:srgbClr val="032C50"/>
              </a:solidFill>
              <a:latin typeface="Calibri"/>
              <a:sym typeface="+mn-lt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xmlns="" id="{3E45A760-DE51-4E44-9F0C-D7C5C54F47A7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5781675" y="32041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BE9864C7-F44A-4D59-9D2C-F776843F02E5}" type="datetime'''''''''''''''''''''''''''1''''''''''''1''''''''''''7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17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xmlns="" id="{0D6383CC-630F-4AD4-9515-9AC4CE501659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4371975" y="52393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E9EDCDB3-98A5-419C-8FF5-A1CFBD79F0AC}" type="datetime'''''''''''''''''''''''''''9''''9''''''4''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994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xmlns="" id="{BEEC57E1-1F17-4D7F-8BD3-D43E8F2EA084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4371975" y="348989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B465EC45-F9AD-4CC2-A1E9-81EA4392B7FF}" type="datetime'''''''''''''''''''''''''''1''''''''''3''''''''''''''''''''''0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30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xmlns="" id="{6A5C9229-E28A-4EA1-BCF2-DDFCA4F6B719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4371975" y="32803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8EB4E3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A2CD2C7C-AB52-4B62-83AE-63BCEE15E512}" type="datetime'''''''15''''''''''''''0''''''''''''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50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xmlns="" id="{26C2DAEA-92FA-415A-BC34-597F1F9C8801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788988" y="3229546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548824C-F06B-4B47-883F-8324F349AC77}" type="datetime'''''''''''''''''1'''''',7''''''5''''3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753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xmlns="" id="{6B7D7728-3AAF-49DD-9765-34F2458430C3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3663950" y="36105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D71F228D-4A81-4689-89F9-ABE85FCBDC7F}" type="datetime'''''''''1''''''''''''''''''''3''''''''''''''''''6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36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xmlns="" id="{BCCEB185-78D5-4A87-921B-0D16EFDE316F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6434138" y="3332733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B2C2CCD4-4494-4F93-8B93-0E19EFC6836E}" type="datetime'1,''''''7''''''''''''''0''''''''''''''''7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707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6" name="Text Placeholder 2">
            <a:extLst>
              <a:ext uri="{FF2B5EF4-FFF2-40B4-BE49-F238E27FC236}">
                <a16:creationId xmlns:a16="http://schemas.microsoft.com/office/drawing/2014/main" xmlns="" id="{844A59AD-D178-420E-A110-DFFBCDBC3037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5729288" y="3015233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4FF14A9A-05E1-4676-A5EF-E7A50EA87D12}" type="datetime'''''''''1,''''9''''''1''''''''''7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917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5" name="Text Placeholder 2">
            <a:extLst>
              <a:ext uri="{FF2B5EF4-FFF2-40B4-BE49-F238E27FC236}">
                <a16:creationId xmlns:a16="http://schemas.microsoft.com/office/drawing/2014/main" xmlns="" id="{3C88BC93-4F14-4846-B940-5D8378070B01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5024438" y="2869183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175B722-D792-4CD5-B5FD-5CBEBC7A3C80}" type="datetime'''''''''''2'''''''''''''''''''''',''0''1''''''''4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2,014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xmlns="" id="{39C33F2E-3B83-471F-9185-FB9967AFE9FB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2903538" y="3127946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D6F79D02-1D9B-4F71-827A-C36DD722AE81}" type="datetime'''1'''''',8''21''''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821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3" name="Text Placeholder 2">
            <a:extLst>
              <a:ext uri="{FF2B5EF4-FFF2-40B4-BE49-F238E27FC236}">
                <a16:creationId xmlns:a16="http://schemas.microsoft.com/office/drawing/2014/main" xmlns="" id="{EB69D17E-E736-4D43-B964-2CC83D2CF933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3611563" y="3099371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D2219371-B0F2-4B6B-9C0E-8ED154AA742F}" type="datetime'1'',8''''''''''''''''''''''''''''''''''''''''''''3''''9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839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xmlns="" id="{495A93BA-4C78-4C1E-A857-BB1BCBE1EF65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1493838" y="3251771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9C648C09-ED13-4633-B0C9-12FAC5240A1E}" type="datetime'''1'''''''''''''''''''''''',''''7''''''''3''''4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734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4" name="Text Placeholder 2">
            <a:extLst>
              <a:ext uri="{FF2B5EF4-FFF2-40B4-BE49-F238E27FC236}">
                <a16:creationId xmlns:a16="http://schemas.microsoft.com/office/drawing/2014/main" xmlns="" id="{FD23CE95-44D2-4D40-8438-EBE21397BD69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4319588" y="3066033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14799061-78D0-425F-8C3D-8D06C3EFA39A}" type="datetime'''''''''''''''''''''1'''',''''8''85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885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xmlns="" id="{228F7BAC-FF50-46D5-BDC9-362045082280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841375" y="34994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8EB4E3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3213E814-81F7-40E4-9134-2E5EA80B8DB4}" type="datetime'''''''''1''''''''''''''''''''''''''''''''''''6''''''6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66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xmlns="" id="{F37627B2-BC41-4ED7-B04C-FCD5E9986C24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gray">
          <a:xfrm>
            <a:off x="876300" y="3366071"/>
            <a:ext cx="139700" cy="136525"/>
          </a:xfrm>
          <a:prstGeom prst="rect">
            <a:avLst/>
          </a:prstGeom>
          <a:solidFill>
            <a:srgbClr val="F79646"/>
          </a:solidFill>
          <a:ex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35749AA9-C808-45A3-959E-560AA4E83984}" type="datetime'''''1''''''''''1''''''''''''''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1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xmlns="" id="{97A4EDEC-427C-4C04-A698-49003322C157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gray">
          <a:xfrm>
            <a:off x="841375" y="43344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44747588-C753-4BE8-8DE0-90301ABC156D}" type="datetime'''''''''''''6''''''3''''''''6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636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xmlns="" id="{12C0F92C-0CED-4990-8141-5AEE8265F9C9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gray">
          <a:xfrm>
            <a:off x="2198688" y="3251771"/>
            <a:ext cx="3143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BA709DEA-E730-4B60-B8E2-D7F6C5EF2550}" type="datetime'1,7''''''''''4''''''''''''5''''''''''''''''''''''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,745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xmlns="" id="{B0C77CAE-0A34-4E32-874B-022CD02C7427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841375" y="37407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087E599-3D78-430A-BD6B-BF1A52669EDA}" type="datetime'''''1''''''''''''''''''''''5''''''''''''''''8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58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xmlns="" id="{F55D5761-DF91-4AE3-84A7-7190833FF78D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gray">
          <a:xfrm>
            <a:off x="841375" y="53980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C0504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F3569C61-9D50-443B-9E51-77227C76EA23}" type="datetime'''''''''''''''''7''''8''''''''1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781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xmlns="" id="{7DD13C0F-C5D6-439D-8593-8440642AA929}"/>
              </a:ext>
            </a:extLst>
          </p:cNvPr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5076825" y="375342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5FC84CD0-3769-428D-9D67-5C10694A8CB1}" type="datetime'''55''2''''''''''''''''''''''''''''''''''''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552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xmlns="" id="{1F34B03D-4E79-4CC5-8E16-D47C9DB6BC48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gray">
          <a:xfrm>
            <a:off x="5076825" y="3239071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88123DC1-A8A2-4EE7-9AA2-EA8754ADA353}" type="datetime'''1''''3''''''''''''''''''''''''''''''''''2'''''''''''''''''">
              <a:rPr lang="en-GB" altLang="en-US" sz="1000" b="1">
                <a:solidFill>
                  <a:prstClr val="white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32</a:t>
            </a:fld>
            <a:endParaRPr lang="en-GB" sz="1000" b="1" dirty="0">
              <a:solidFill>
                <a:prstClr val="white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xmlns="" id="{B824D8B9-C49A-4842-8668-1D1108FAC520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6486525" y="3521646"/>
            <a:ext cx="209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13013D5E-1348-4EE1-ABEC-F7037F7F5831}" type="datetime'1''''''''''''''''''2''''''''''''''''''''''5'''''''''''">
              <a:rPr lang="en-GB" altLang="en-US" sz="1000" b="1">
                <a:solidFill>
                  <a:prstClr val="black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125</a:t>
            </a:fld>
            <a:endParaRPr lang="en-GB" sz="1000" b="1" dirty="0">
              <a:solidFill>
                <a:prstClr val="black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D37E7217-CC01-4EFA-9F75-E1D7D291E295}"/>
              </a:ext>
            </a:extLst>
          </p:cNvPr>
          <p:cNvSpPr/>
          <p:nvPr>
            <p:custDataLst>
              <p:tags r:id="rId137"/>
            </p:custDataLst>
          </p:nvPr>
        </p:nvSpPr>
        <p:spPr bwMode="auto">
          <a:xfrm>
            <a:off x="6202363" y="2067496"/>
            <a:ext cx="179388" cy="133350"/>
          </a:xfrm>
          <a:prstGeom prst="rect">
            <a:avLst/>
          </a:prstGeom>
          <a:solidFill>
            <a:srgbClr val="8EB4E3"/>
          </a:solidFill>
          <a:ln w="9525">
            <a:solidFill>
              <a:srgbClr val="FFFFFF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>
              <a:lnSpc>
                <a:spcPct val="90000"/>
              </a:lnSpc>
              <a:buClr>
                <a:prstClr val="white"/>
              </a:buClr>
              <a:buSzPct val="100000"/>
            </a:pPr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53949E2D-2933-4EFE-80DA-D9E45D477A30}"/>
              </a:ext>
            </a:extLst>
          </p:cNvPr>
          <p:cNvSpPr/>
          <p:nvPr>
            <p:custDataLst>
              <p:tags r:id="rId138"/>
            </p:custDataLst>
          </p:nvPr>
        </p:nvSpPr>
        <p:spPr bwMode="auto">
          <a:xfrm>
            <a:off x="7307263" y="1880171"/>
            <a:ext cx="179388" cy="133350"/>
          </a:xfrm>
          <a:prstGeom prst="rect">
            <a:avLst/>
          </a:prstGeom>
          <a:solidFill>
            <a:srgbClr val="EC6E1F"/>
          </a:solidFill>
          <a:ln w="9525">
            <a:solidFill>
              <a:srgbClr val="FFFFFF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>
              <a:lnSpc>
                <a:spcPct val="90000"/>
              </a:lnSpc>
              <a:buClr>
                <a:prstClr val="white"/>
              </a:buClr>
              <a:buSzPct val="100000"/>
            </a:pPr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93AE031B-FF68-423D-A29D-E9EBAA1F7F13}"/>
              </a:ext>
            </a:extLst>
          </p:cNvPr>
          <p:cNvSpPr/>
          <p:nvPr>
            <p:custDataLst>
              <p:tags r:id="rId139"/>
            </p:custDataLst>
          </p:nvPr>
        </p:nvSpPr>
        <p:spPr bwMode="auto">
          <a:xfrm>
            <a:off x="6202363" y="1880171"/>
            <a:ext cx="179388" cy="133350"/>
          </a:xfrm>
          <a:prstGeom prst="rect">
            <a:avLst/>
          </a:prstGeom>
          <a:solidFill>
            <a:srgbClr val="4F81BD"/>
          </a:solidFill>
          <a:ln w="9525">
            <a:solidFill>
              <a:srgbClr val="FFFFFF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>
              <a:lnSpc>
                <a:spcPct val="90000"/>
              </a:lnSpc>
              <a:buClr>
                <a:prstClr val="white"/>
              </a:buClr>
              <a:buSzPct val="100000"/>
            </a:pPr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="" id="{34E04983-2A72-438A-B5DA-5C5FD65F1158}"/>
              </a:ext>
            </a:extLst>
          </p:cNvPr>
          <p:cNvSpPr/>
          <p:nvPr>
            <p:custDataLst>
              <p:tags r:id="rId140"/>
            </p:custDataLst>
          </p:nvPr>
        </p:nvSpPr>
        <p:spPr bwMode="auto">
          <a:xfrm>
            <a:off x="4767263" y="2067496"/>
            <a:ext cx="179388" cy="133350"/>
          </a:xfrm>
          <a:prstGeom prst="rect">
            <a:avLst/>
          </a:prstGeom>
          <a:solidFill>
            <a:srgbClr val="1F497D"/>
          </a:solidFill>
          <a:ln w="9525">
            <a:solidFill>
              <a:srgbClr val="FFFFFF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>
              <a:lnSpc>
                <a:spcPct val="90000"/>
              </a:lnSpc>
              <a:buClr>
                <a:prstClr val="white"/>
              </a:buClr>
              <a:buSzPct val="100000"/>
            </a:pPr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ADD1836E-DFF7-4484-8067-AD730277EE9B}"/>
              </a:ext>
            </a:extLst>
          </p:cNvPr>
          <p:cNvSpPr/>
          <p:nvPr>
            <p:custDataLst>
              <p:tags r:id="rId141"/>
            </p:custDataLst>
          </p:nvPr>
        </p:nvSpPr>
        <p:spPr bwMode="auto">
          <a:xfrm>
            <a:off x="4767263" y="1880171"/>
            <a:ext cx="179388" cy="133350"/>
          </a:xfrm>
          <a:prstGeom prst="rect">
            <a:avLst/>
          </a:prstGeom>
          <a:solidFill>
            <a:srgbClr val="C0504D"/>
          </a:solidFill>
          <a:ln w="9525">
            <a:solidFill>
              <a:srgbClr val="FFFFFF"/>
            </a:solidFill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>
              <a:lnSpc>
                <a:spcPct val="90000"/>
              </a:lnSpc>
              <a:buClr>
                <a:prstClr val="white"/>
              </a:buClr>
              <a:buSzPct val="100000"/>
            </a:pPr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xmlns="" id="{934118C2-CE16-457F-B95B-3A3CD4FB2483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6432550" y="1875408"/>
            <a:ext cx="77311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D96496C-6062-4294-9E3D-E019D98BC641}" type="datetime'P''''r''''i''''''v''''''''''a''te'''''' s''ect''o''r'''''''">
              <a:rPr lang="en-GB" altLang="en-US" sz="1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Private sector</a:t>
            </a:fld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xmlns="" id="{FFCEC3AF-EE01-4ED4-B6FA-D8474150486A}"/>
              </a:ext>
            </a:extLst>
          </p:cNvPr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7537450" y="1875408"/>
            <a:ext cx="12922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299E9B36-2F51-4DB6-B5FD-BDDC9BC78343}" type="datetime'R''''''o''y''a''''l''t''''''''ies an''d lice''''n''si''ng'">
              <a:rPr lang="en-GB" altLang="en-US" sz="1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Royalties and licensing</a:t>
            </a:fld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xmlns="" id="{0611CBEC-4475-4D49-9002-A0EECA17EFA3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4997450" y="1875408"/>
            <a:ext cx="7239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005511F-BF4E-4DDB-82A4-317B829BD045}" type="datetime'''Pu''b''''lic'''''''''' s''''''''''ec''''''t''''''''''''o''r'">
              <a:rPr lang="en-GB" altLang="en-US" sz="1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Public sector</a:t>
            </a:fld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xmlns="" id="{7F91A314-B39C-4943-9F90-C8C38AE9BE2B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6432550" y="2062733"/>
            <a:ext cx="69373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A523F206-4FC4-4FE3-93F3-D09AD40ACABA}" type="datetime'Int''''''''''''''''''''''''''''e''''''r''''''n''''atio''nal'''">
              <a:rPr lang="en-GB" altLang="en-US" sz="1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International</a:t>
            </a:fld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xmlns="" id="{74364BC5-EAAD-4AE3-A269-35ABA9A82B92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4997450" y="2062733"/>
            <a:ext cx="110331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4738" indent="-2667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Calibri" panose="020F05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/>
              <a:buNone/>
            </a:pPr>
            <a:fld id="{07C42F94-99C2-41A1-B06A-6EF9C5C7DE25}" type="datetime'P''''''ar''''l''''i''''''''''ame''''nt''''''ary g''r''ant'">
              <a:rPr lang="en-GB" altLang="en-US" sz="1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Font typeface="Arial"/>
                <a:buNone/>
              </a:pPr>
              <a:t>Parliamentary grant</a:t>
            </a:fld>
            <a:endParaRPr lang="en-GB" sz="10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xmlns="" id="{FD9F4C72-1DC0-46B1-AD30-E08D4A36641C}"/>
              </a:ext>
            </a:extLst>
          </p:cNvPr>
          <p:cNvSpPr/>
          <p:nvPr/>
        </p:nvSpPr>
        <p:spPr>
          <a:xfrm>
            <a:off x="7424341" y="2364188"/>
            <a:ext cx="1043023" cy="19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>
                    <a:lumMod val="75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400" b="1" dirty="0">
                <a:solidFill>
                  <a:srgbClr val="1F497D"/>
                </a:solidFill>
                <a:latin typeface="Arial" panose="020B0604020202020204" pitchFamily="34" charset="0"/>
              </a:rPr>
              <a:t>CAGR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4E44AFAA-C4B1-4E87-B0B3-09FDAD49D1CF}"/>
              </a:ext>
            </a:extLst>
          </p:cNvPr>
          <p:cNvSpPr/>
          <p:nvPr/>
        </p:nvSpPr>
        <p:spPr>
          <a:xfrm>
            <a:off x="8028305" y="2611548"/>
            <a:ext cx="863084" cy="3435958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>
              <a:lnSpc>
                <a:spcPct val="90000"/>
              </a:lnSpc>
              <a:buClr>
                <a:prstClr val="white"/>
              </a:buClr>
              <a:buSzPct val="100000"/>
            </a:pPr>
            <a:endParaRPr lang="en-GB" sz="1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0947CD0E-E135-40E3-8264-296251433F48}"/>
              </a:ext>
            </a:extLst>
          </p:cNvPr>
          <p:cNvSpPr/>
          <p:nvPr/>
        </p:nvSpPr>
        <p:spPr>
          <a:xfrm>
            <a:off x="7109752" y="2672916"/>
            <a:ext cx="783639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>
                    <a:lumMod val="75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200" b="1" dirty="0">
                <a:solidFill>
                  <a:srgbClr val="1F497D"/>
                </a:solidFill>
                <a:latin typeface="Arial" panose="020B0604020202020204" pitchFamily="34" charset="0"/>
              </a:rPr>
              <a:t>FY10-FY16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9645FC0A-A237-4E3C-BA41-970FCF526CB4}"/>
              </a:ext>
            </a:extLst>
          </p:cNvPr>
          <p:cNvSpPr/>
          <p:nvPr/>
        </p:nvSpPr>
        <p:spPr>
          <a:xfrm>
            <a:off x="8068028" y="2672916"/>
            <a:ext cx="783639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>
                    <a:lumMod val="75000"/>
                  </a:schemeClr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200" b="1" dirty="0">
                <a:solidFill>
                  <a:srgbClr val="1F497D"/>
                </a:solidFill>
                <a:latin typeface="Arial" panose="020B0604020202020204" pitchFamily="34" charset="0"/>
              </a:rPr>
              <a:t>FY16-FY18</a:t>
            </a: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xmlns="" id="{CDF3A280-5863-435B-8AEB-D87E271CA951}"/>
              </a:ext>
            </a:extLst>
          </p:cNvPr>
          <p:cNvSpPr/>
          <p:nvPr/>
        </p:nvSpPr>
        <p:spPr>
          <a:xfrm>
            <a:off x="7186090" y="3347503"/>
            <a:ext cx="630963" cy="331575"/>
          </a:xfrm>
          <a:prstGeom prst="ellipse">
            <a:avLst/>
          </a:prstGeom>
          <a:solidFill>
            <a:srgbClr val="8EB4E3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6.1%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xmlns="" id="{50665C47-E781-4819-8084-068E84464BE3}"/>
              </a:ext>
            </a:extLst>
          </p:cNvPr>
          <p:cNvSpPr/>
          <p:nvPr/>
        </p:nvSpPr>
        <p:spPr>
          <a:xfrm>
            <a:off x="8144366" y="3347503"/>
            <a:ext cx="630963" cy="331575"/>
          </a:xfrm>
          <a:prstGeom prst="ellipse">
            <a:avLst/>
          </a:prstGeom>
          <a:solidFill>
            <a:srgbClr val="8EB4E3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+4.6%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xmlns="" id="{9A0E9D55-3055-498F-B620-4074D21D3276}"/>
              </a:ext>
            </a:extLst>
          </p:cNvPr>
          <p:cNvSpPr/>
          <p:nvPr/>
        </p:nvSpPr>
        <p:spPr>
          <a:xfrm>
            <a:off x="7186090" y="3791585"/>
            <a:ext cx="630963" cy="331575"/>
          </a:xfrm>
          <a:prstGeom prst="ellipse">
            <a:avLst/>
          </a:prstGeom>
          <a:solidFill>
            <a:srgbClr val="4F81BD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2.9%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xmlns="" id="{F8374446-4E6D-424D-90DB-049C3ACBDC2D}"/>
              </a:ext>
            </a:extLst>
          </p:cNvPr>
          <p:cNvSpPr/>
          <p:nvPr/>
        </p:nvSpPr>
        <p:spPr>
          <a:xfrm>
            <a:off x="8144366" y="3791585"/>
            <a:ext cx="630963" cy="331575"/>
          </a:xfrm>
          <a:prstGeom prst="ellipse">
            <a:avLst/>
          </a:prstGeom>
          <a:solidFill>
            <a:srgbClr val="4F81BD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0.8%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xmlns="" id="{B028E1AC-F1EC-42F0-A0E3-17900323C907}"/>
              </a:ext>
            </a:extLst>
          </p:cNvPr>
          <p:cNvSpPr/>
          <p:nvPr/>
        </p:nvSpPr>
        <p:spPr>
          <a:xfrm>
            <a:off x="7186090" y="4322750"/>
            <a:ext cx="630963" cy="331575"/>
          </a:xfrm>
          <a:prstGeom prst="ellipse">
            <a:avLst/>
          </a:prstGeom>
          <a:solidFill>
            <a:srgbClr val="1F497D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2.4%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xmlns="" id="{E20FC26F-0BBB-4D52-BC07-B4A20A98B37B}"/>
              </a:ext>
            </a:extLst>
          </p:cNvPr>
          <p:cNvSpPr/>
          <p:nvPr/>
        </p:nvSpPr>
        <p:spPr>
          <a:xfrm>
            <a:off x="8144366" y="4322750"/>
            <a:ext cx="630963" cy="331575"/>
          </a:xfrm>
          <a:prstGeom prst="ellipse">
            <a:avLst/>
          </a:prstGeom>
          <a:solidFill>
            <a:srgbClr val="1F497D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0.2%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xmlns="" id="{9959FB16-85D2-44C3-BCD8-BF17FADA0900}"/>
              </a:ext>
            </a:extLst>
          </p:cNvPr>
          <p:cNvSpPr/>
          <p:nvPr/>
        </p:nvSpPr>
        <p:spPr>
          <a:xfrm>
            <a:off x="7186090" y="5175024"/>
            <a:ext cx="630963" cy="331575"/>
          </a:xfrm>
          <a:prstGeom prst="ellipse">
            <a:avLst/>
          </a:prstGeom>
          <a:solidFill>
            <a:srgbClr val="C0504D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+7.6%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xmlns="" id="{9A309A00-83F4-4BEB-99D0-56D4FC154C67}"/>
              </a:ext>
            </a:extLst>
          </p:cNvPr>
          <p:cNvSpPr/>
          <p:nvPr/>
        </p:nvSpPr>
        <p:spPr>
          <a:xfrm>
            <a:off x="8144366" y="5175024"/>
            <a:ext cx="630963" cy="331575"/>
          </a:xfrm>
          <a:prstGeom prst="ellipse">
            <a:avLst/>
          </a:prstGeom>
          <a:solidFill>
            <a:srgbClr val="C0504D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13.9%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xmlns="" id="{54711311-434F-4F94-8B58-868A0BD57B6A}"/>
              </a:ext>
            </a:extLst>
          </p:cNvPr>
          <p:cNvSpPr/>
          <p:nvPr/>
        </p:nvSpPr>
        <p:spPr>
          <a:xfrm>
            <a:off x="7186090" y="2903420"/>
            <a:ext cx="630963" cy="331575"/>
          </a:xfrm>
          <a:prstGeom prst="ellipse">
            <a:avLst/>
          </a:prstGeom>
          <a:solidFill>
            <a:srgbClr val="EC6E1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15.4%</a:t>
            </a: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xmlns="" id="{915E127E-3919-4595-AA68-B876764E61B4}"/>
              </a:ext>
            </a:extLst>
          </p:cNvPr>
          <p:cNvSpPr/>
          <p:nvPr/>
        </p:nvSpPr>
        <p:spPr>
          <a:xfrm>
            <a:off x="8144366" y="2903420"/>
            <a:ext cx="630963" cy="331575"/>
          </a:xfrm>
          <a:prstGeom prst="ellipse">
            <a:avLst/>
          </a:prstGeom>
          <a:solidFill>
            <a:srgbClr val="EC6E1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</a:rPr>
              <a:t>-11.4%</a:t>
            </a: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xmlns="" id="{71762D13-6A0D-423A-A288-9F037FB455CB}"/>
              </a:ext>
            </a:extLst>
          </p:cNvPr>
          <p:cNvSpPr/>
          <p:nvPr/>
        </p:nvSpPr>
        <p:spPr>
          <a:xfrm>
            <a:off x="1984784" y="2372382"/>
            <a:ext cx="951681" cy="229245"/>
          </a:xfrm>
          <a:prstGeom prst="wedgeRectCallout">
            <a:avLst>
              <a:gd name="adj1" fmla="val 50670"/>
              <a:gd name="adj2" fmla="val 94968"/>
            </a:avLst>
          </a:prstGeom>
          <a:solidFill>
            <a:srgbClr val="7F7F7F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buClr>
                <a:prstClr val="white"/>
              </a:buClr>
              <a:buSzPct val="100000"/>
            </a:pPr>
            <a:r>
              <a:rPr lang="en-GB" sz="1050" b="1" dirty="0">
                <a:solidFill>
                  <a:prstClr val="white"/>
                </a:solidFill>
                <a:latin typeface="Arial" panose="020B0604020202020204" pitchFamily="34" charset="0"/>
              </a:rPr>
              <a:t>Total CAGR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5913" y="1764839"/>
            <a:ext cx="2377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me sources</a:t>
            </a:r>
            <a:endParaRPr lang="en-ZA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185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267744" y="1772816"/>
            <a:ext cx="6120680" cy="432048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2267744" y="6093296"/>
            <a:ext cx="6120680" cy="0"/>
          </a:xfrm>
          <a:prstGeom prst="line">
            <a:avLst/>
          </a:prstGeom>
          <a:ln w="5715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ZA" dirty="0"/>
              <a:t>Financial and </a:t>
            </a:r>
            <a:r>
              <a:rPr lang="en-ZA" dirty="0" smtClean="0"/>
              <a:t>governance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411760" y="1916832"/>
            <a:ext cx="5833715" cy="4570412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SzPct val="100000"/>
            </a:pPr>
            <a:r>
              <a:rPr lang="en-GB" sz="1600" dirty="0" smtClean="0"/>
              <a:t>Total </a:t>
            </a:r>
            <a:r>
              <a:rPr lang="en-GB" sz="1600" dirty="0"/>
              <a:t>income </a:t>
            </a:r>
            <a:r>
              <a:rPr lang="en-GB" sz="1600" dirty="0" smtClean="0"/>
              <a:t>showed </a:t>
            </a:r>
            <a:r>
              <a:rPr lang="en-GB" sz="1600" dirty="0"/>
              <a:t>constant growth between FY10 and </a:t>
            </a:r>
            <a:r>
              <a:rPr lang="en-GB" sz="1600" dirty="0" smtClean="0"/>
              <a:t>FY16; this </a:t>
            </a:r>
            <a:r>
              <a:rPr lang="en-GB" sz="1600" dirty="0"/>
              <a:t>was largely driven by an increase in public sector </a:t>
            </a:r>
            <a:r>
              <a:rPr lang="en-GB" sz="1600" dirty="0" smtClean="0"/>
              <a:t>income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SzPct val="100000"/>
              <a:buNone/>
              <a:defRPr/>
            </a:pPr>
            <a:endParaRPr lang="en-GB" sz="1600" dirty="0" smtClean="0"/>
          </a:p>
          <a:p>
            <a:pPr>
              <a:lnSpc>
                <a:spcPct val="90000"/>
              </a:lnSpc>
              <a:spcBef>
                <a:spcPts val="600"/>
              </a:spcBef>
              <a:buSzPct val="100000"/>
              <a:defRPr/>
            </a:pPr>
            <a:r>
              <a:rPr lang="en-GB" sz="1600" dirty="0" smtClean="0"/>
              <a:t>CSIR’s </a:t>
            </a:r>
            <a:r>
              <a:rPr lang="en-GB" sz="1600" dirty="0"/>
              <a:t>contract income has declined sharply from FY16 – FY18 </a:t>
            </a:r>
            <a:r>
              <a:rPr lang="en-GB" sz="1600" dirty="0" smtClean="0"/>
              <a:t>primarily due </a:t>
            </a:r>
            <a:r>
              <a:rPr lang="en-GB" sz="1600" dirty="0"/>
              <a:t>to a decrease in public sector income to the </a:t>
            </a:r>
            <a:r>
              <a:rPr lang="en-GB" sz="1600" dirty="0" smtClean="0"/>
              <a:t>CSIR</a:t>
            </a:r>
            <a:endParaRPr lang="en-GB" sz="1600" dirty="0"/>
          </a:p>
          <a:p>
            <a:pPr>
              <a:lnSpc>
                <a:spcPct val="90000"/>
              </a:lnSpc>
              <a:spcBef>
                <a:spcPts val="600"/>
              </a:spcBef>
              <a:buSzPct val="100000"/>
              <a:defRPr/>
            </a:pPr>
            <a:endParaRPr lang="en-GB" sz="1600" dirty="0"/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</a:pPr>
            <a:r>
              <a:rPr lang="en-GB" sz="1600" dirty="0"/>
              <a:t>Income decreased significantly from the public sector as a result of </a:t>
            </a:r>
            <a:r>
              <a:rPr lang="en-US" sz="1600" dirty="0" smtClean="0"/>
              <a:t>MOAs </a:t>
            </a:r>
            <a:r>
              <a:rPr lang="en-US" sz="1600" dirty="0"/>
              <a:t>with CSIR no longer supported by National </a:t>
            </a:r>
            <a:r>
              <a:rPr lang="en-US" sz="1600" dirty="0" smtClean="0"/>
              <a:t>Treasury as a way of contracting between the CSIR and government </a:t>
            </a:r>
            <a:r>
              <a:rPr lang="en-US" sz="1600" dirty="0"/>
              <a:t>departments and other </a:t>
            </a:r>
            <a:r>
              <a:rPr lang="en-US" sz="1600" dirty="0" smtClean="0"/>
              <a:t>state-owned entities; tender processes are now required</a:t>
            </a:r>
            <a:endParaRPr lang="en-GB" sz="1600" dirty="0"/>
          </a:p>
          <a:p>
            <a:pPr marL="0" indent="0">
              <a:lnSpc>
                <a:spcPct val="90000"/>
              </a:lnSpc>
              <a:spcBef>
                <a:spcPts val="600"/>
              </a:spcBef>
              <a:buSzPct val="100000"/>
              <a:buNone/>
            </a:pPr>
            <a:endParaRPr lang="en-GB" sz="1600" dirty="0" smtClean="0"/>
          </a:p>
          <a:p>
            <a:pPr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CSIR’s share of </a:t>
            </a:r>
            <a:r>
              <a:rPr lang="en-US" sz="1600" dirty="0" smtClean="0">
                <a:latin typeface="Arial" panose="020B0604020202020204" pitchFamily="34" charset="0"/>
              </a:rPr>
              <a:t>contract income </a:t>
            </a:r>
            <a:r>
              <a:rPr lang="en-US" sz="1600" dirty="0">
                <a:latin typeface="Arial" panose="020B0604020202020204" pitchFamily="34" charset="0"/>
              </a:rPr>
              <a:t>from the private sector is relatively </a:t>
            </a:r>
            <a:r>
              <a:rPr lang="en-US" sz="1600" dirty="0" smtClean="0">
                <a:latin typeface="Arial" panose="020B0604020202020204" pitchFamily="34" charset="0"/>
              </a:rPr>
              <a:t>low (10%)</a:t>
            </a:r>
            <a:endParaRPr lang="en-ZA" sz="16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2267744" y="1772816"/>
            <a:ext cx="6120680" cy="0"/>
          </a:xfrm>
          <a:prstGeom prst="line">
            <a:avLst/>
          </a:prstGeom>
          <a:ln w="12700" cmpd="sng">
            <a:solidFill>
              <a:srgbClr val="82AE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240059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267744" y="1772816"/>
            <a:ext cx="6120680" cy="43204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92000"/>
                </a:schemeClr>
              </a:gs>
              <a:gs pos="100000">
                <a:srgbClr val="FFFFFF">
                  <a:alpha val="92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2267744" y="6093296"/>
            <a:ext cx="6120680" cy="0"/>
          </a:xfrm>
          <a:prstGeom prst="line">
            <a:avLst/>
          </a:prstGeom>
          <a:ln w="57150" cmpd="sng">
            <a:solidFill>
              <a:srgbClr val="37AC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ZA" dirty="0"/>
              <a:t>Financial and </a:t>
            </a:r>
            <a:r>
              <a:rPr lang="en-ZA" dirty="0" smtClean="0"/>
              <a:t>governance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411760" y="1882924"/>
            <a:ext cx="5833715" cy="4570412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</a:pPr>
            <a:r>
              <a:rPr lang="en-US" sz="1600" dirty="0" smtClean="0">
                <a:latin typeface="Arial" panose="020B0604020202020204" pitchFamily="34" charset="0"/>
              </a:rPr>
              <a:t>In 2017/18 </a:t>
            </a:r>
            <a:r>
              <a:rPr lang="en-US" sz="1600" dirty="0">
                <a:latin typeface="Arial" panose="020B0604020202020204" pitchFamily="34" charset="0"/>
              </a:rPr>
              <a:t>the CSIR was not profitable </a:t>
            </a:r>
            <a:r>
              <a:rPr lang="en-US" sz="1600" dirty="0" smtClean="0">
                <a:latin typeface="Arial" panose="020B0604020202020204" pitchFamily="34" charset="0"/>
              </a:rPr>
              <a:t>mainly due to the </a:t>
            </a:r>
            <a:r>
              <a:rPr lang="en-US" sz="1600" dirty="0">
                <a:latin typeface="Arial" panose="020B0604020202020204" pitchFamily="34" charset="0"/>
              </a:rPr>
              <a:t>rapid decline in public sector </a:t>
            </a:r>
            <a:r>
              <a:rPr lang="en-US" sz="1600" dirty="0" smtClean="0">
                <a:latin typeface="Arial" panose="020B0604020202020204" pitchFamily="34" charset="0"/>
              </a:rPr>
              <a:t>revenue and a high manpower cost base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None/>
            </a:pPr>
            <a:endParaRPr lang="en-US" sz="1600" dirty="0" smtClean="0">
              <a:latin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None/>
            </a:pPr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Remedial </a:t>
            </a:r>
            <a:r>
              <a:rPr lang="en-ZA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ction</a:t>
            </a:r>
            <a:endParaRPr lang="en-ZA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</a:pPr>
            <a:r>
              <a:rPr lang="en-GB" sz="1600" dirty="0" smtClean="0">
                <a:latin typeface="Arial" panose="020B0604020202020204" pitchFamily="34" charset="0"/>
              </a:rPr>
              <a:t>Extensive cost </a:t>
            </a:r>
            <a:r>
              <a:rPr lang="en-GB" sz="1600" dirty="0">
                <a:latin typeface="Arial" panose="020B0604020202020204" pitchFamily="34" charset="0"/>
              </a:rPr>
              <a:t>containment measures have been implemented to respond to </a:t>
            </a:r>
            <a:r>
              <a:rPr lang="en-GB" sz="1600" dirty="0" smtClean="0">
                <a:latin typeface="Arial" panose="020B0604020202020204" pitchFamily="34" charset="0"/>
              </a:rPr>
              <a:t>the declining incom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</a:pPr>
            <a:endParaRPr lang="en-GB" sz="1600" dirty="0"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</a:pPr>
            <a:r>
              <a:rPr lang="en-GB" sz="1600" dirty="0" smtClean="0">
                <a:latin typeface="Arial" panose="020B0604020202020204" pitchFamily="34" charset="0"/>
              </a:rPr>
              <a:t>A review process is currently underway for all non-sustainable operating </a:t>
            </a:r>
            <a:r>
              <a:rPr lang="en-GB" sz="1600" dirty="0">
                <a:latin typeface="Arial" panose="020B0604020202020204" pitchFamily="34" charset="0"/>
              </a:rPr>
              <a:t>u</a:t>
            </a:r>
            <a:r>
              <a:rPr lang="en-GB" sz="1600" dirty="0" smtClean="0">
                <a:latin typeface="Arial" panose="020B0604020202020204" pitchFamily="34" charset="0"/>
              </a:rPr>
              <a:t>nits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  <a:buNone/>
            </a:pPr>
            <a:endParaRPr lang="en-GB" sz="1600" dirty="0" smtClean="0"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SzPct val="100000"/>
            </a:pPr>
            <a:r>
              <a:rPr lang="en-GB" sz="1600" dirty="0" smtClean="0">
                <a:latin typeface="Arial" panose="020B0604020202020204" pitchFamily="34" charset="0"/>
              </a:rPr>
              <a:t>Improvements to internal processes have been implemented over income declaration, customer contracting and work at risk</a:t>
            </a:r>
            <a:endParaRPr lang="en-GB" sz="1600" dirty="0">
              <a:latin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2267744" y="1772816"/>
            <a:ext cx="6120680" cy="0"/>
          </a:xfrm>
          <a:prstGeom prst="line">
            <a:avLst/>
          </a:prstGeom>
          <a:ln w="12700" cmpd="sng">
            <a:solidFill>
              <a:srgbClr val="37AC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6595754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2267744" y="1772816"/>
            <a:ext cx="6120680" cy="4320480"/>
          </a:xfrm>
          <a:prstGeom prst="rect">
            <a:avLst/>
          </a:prstGeom>
          <a:solidFill>
            <a:srgbClr val="37ACC0">
              <a:alpha val="92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2267744" y="6093296"/>
            <a:ext cx="6120680" cy="0"/>
          </a:xfrm>
          <a:prstGeom prst="line">
            <a:avLst/>
          </a:prstGeom>
          <a:ln w="57150" cmpd="sng">
            <a:solidFill>
              <a:srgbClr val="032C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267744" y="1772816"/>
            <a:ext cx="6120680" cy="0"/>
          </a:xfrm>
          <a:prstGeom prst="line">
            <a:avLst/>
          </a:prstGeom>
          <a:ln w="12700" cmpd="sng">
            <a:solidFill>
              <a:srgbClr val="032C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inancial and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b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Audit report matters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411760" y="1916832"/>
            <a:ext cx="568863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The CSIR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maintained its clean audit status in that it received an unqualified opinion with no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material finding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The CSIR is currently a going concern despite the loss in the current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year </a:t>
            </a:r>
            <a:endParaRPr lang="en-GB" sz="1600" dirty="0">
              <a:solidFill>
                <a:srgbClr val="032C5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Heightened awareness on the increase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in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irregular expenditure due to increased governance processes that have been implemented. Consequence management is in prog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The Annual Financial Statements disclosed a prior-period error relating to revenue overstated in FY17 that was corrected</a:t>
            </a:r>
          </a:p>
          <a:p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40422007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R Mocked u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36512" y="-27384"/>
            <a:ext cx="9217024" cy="69127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49" y="332656"/>
            <a:ext cx="8229600" cy="782960"/>
          </a:xfrm>
        </p:spPr>
        <p:txBody>
          <a:bodyPr>
            <a:normAutofit/>
          </a:bodyPr>
          <a:lstStyle/>
          <a:p>
            <a:r>
              <a:rPr lang="en-US" dirty="0" smtClean="0"/>
              <a:t>Contents 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5697106"/>
            <a:ext cx="864096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irman’s overview</a:t>
            </a:r>
            <a:r>
              <a:rPr lang="en-ZA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gt;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SIR mandate </a:t>
            </a:r>
            <a:r>
              <a:rPr lang="en-ZA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SIR at a glance </a:t>
            </a:r>
            <a:endParaRPr lang="en-ZA" b="1" dirty="0" smtClean="0">
              <a:solidFill>
                <a:srgbClr val="82AE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objectives</a:t>
            </a:r>
            <a:r>
              <a:rPr lang="en-ZA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b="1" dirty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ZA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erformance indicators </a:t>
            </a:r>
            <a:r>
              <a:rPr lang="en-ZA" b="1" dirty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ZA" b="1" dirty="0" smtClean="0">
                <a:solidFill>
                  <a:srgbClr val="82AE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xmlns="" val="3069205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Health and safety 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2483768" y="1701383"/>
            <a:ext cx="6444208" cy="4421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newed emphasis on safety 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 for Disabling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jury Frequency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e met and exceeded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remains: Zero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m, zero disabling injuries and zero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talities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cupational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and Safety Assessment Series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001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tion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ained for another year</a:t>
            </a:r>
          </a:p>
          <a:p>
            <a:pPr marL="0" lvl="1">
              <a:lnSpc>
                <a:spcPct val="110000"/>
              </a:lnSpc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10000"/>
              </a:lnSpc>
            </a:pP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of occupational </a:t>
            </a: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and safety management 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s </a:t>
            </a:r>
          </a:p>
          <a:p>
            <a:pPr marL="2857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ed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improved occupational health and safety management system</a:t>
            </a:r>
          </a:p>
          <a:p>
            <a:pPr marL="2857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-Point Heath and Safety Improvement Plan</a:t>
            </a:r>
          </a:p>
          <a:p>
            <a:pPr lvl="1">
              <a:lnSpc>
                <a:spcPct val="110000"/>
              </a:lnSpc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governance structures and 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</a:t>
            </a: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ly constituted CSIR Safety, Health and Environmental Leadership Committee, chaired by the CEO</a:t>
            </a:r>
          </a:p>
          <a:p>
            <a:pPr marL="2857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accountability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 Directors, portfolio heads and senior managers at regional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s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288" y="3213033"/>
            <a:ext cx="2015954" cy="13446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536" y="1772816"/>
            <a:ext cx="2016125" cy="13447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536" y="4653136"/>
            <a:ext cx="2015954" cy="1344641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395536" y="6021288"/>
            <a:ext cx="2016224" cy="0"/>
          </a:xfrm>
          <a:prstGeom prst="line">
            <a:avLst/>
          </a:prstGeom>
          <a:ln w="762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95536" y="1772816"/>
            <a:ext cx="2016224" cy="0"/>
          </a:xfrm>
          <a:prstGeom prst="line">
            <a:avLst/>
          </a:prstGeom>
          <a:ln w="127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41552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23850" y="153985"/>
            <a:ext cx="6336382" cy="1143000"/>
          </a:xfrm>
        </p:spPr>
        <p:txBody>
          <a:bodyPr>
            <a:normAutofit/>
          </a:bodyPr>
          <a:lstStyle/>
          <a:p>
            <a:r>
              <a:rPr lang="en-ZA" dirty="0" smtClean="0"/>
              <a:t>Broad-Based Black Economic Empowerment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250825" y="2091234"/>
            <a:ext cx="8785671" cy="3637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ieved a Level 3 B-BBEE status against a Level 2 targe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measures put in place to ensure regaining of Level 2 statu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SIR still measures up well against similar institutions and universities, predominantly scoring Level 7 or lower, with the Agricultural Research Council performing on par by achieving Level 3 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areas include: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ed preferential procurement focusing on qualifying small enterprises and 51% black-owned enterprises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ed recruitment programmes areas reflective of the national demographic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ing the development of a recruitment and skills development plan targeted at qualifying disabled individuals subject to infrastructure requirements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8378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850" y="116632"/>
            <a:ext cx="7128470" cy="1143000"/>
          </a:xfrm>
        </p:spPr>
        <p:txBody>
          <a:bodyPr>
            <a:noAutofit/>
          </a:bodyPr>
          <a:lstStyle/>
          <a:p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Research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o foster industrial </a:t>
            </a:r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55776" y="1700808"/>
            <a:ext cx="6480720" cy="4745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urry detection 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anadian mine is doing field trials of a CSIR technology to detect sedimentation in slurry pipelines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IR system detects heavy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les that settle at the bottom of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s, causing blockage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ck stability monitor</a:t>
            </a: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a compact battery-</a:t>
            </a:r>
            <a:r>
              <a:rPr lang="en-GB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ed device to monitor rock-mass for micro-seismicity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ses safe re-entry after hazardous event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robot mapping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of multiple autonomous robots to map large areas that are hard to reach or hazardous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on software continues prior to field trials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90000"/>
              </a:lnSpc>
            </a:pP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ing Transnet monitor locomotive condition</a:t>
            </a:r>
          </a:p>
          <a:p>
            <a:pPr marL="285750" lvl="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SIR and Transnet are developing a system to monitor the condition of locomotives</a:t>
            </a:r>
          </a:p>
          <a:p>
            <a:pPr marL="285750" lvl="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net will be able to implement predictive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ance and detect rail infrastructure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cts</a:t>
            </a:r>
            <a:endParaRPr lang="en-GB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2503" r="-1025" b="-1137"/>
          <a:stretch/>
        </p:blipFill>
        <p:spPr>
          <a:xfrm>
            <a:off x="395536" y="1772816"/>
            <a:ext cx="2052299" cy="133714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95536" y="3192927"/>
            <a:ext cx="2018502" cy="138820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b="-1"/>
          <a:stretch/>
        </p:blipFill>
        <p:spPr>
          <a:xfrm>
            <a:off x="395288" y="4681229"/>
            <a:ext cx="2007455" cy="1378259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395536" y="6021288"/>
            <a:ext cx="2016224" cy="0"/>
          </a:xfrm>
          <a:prstGeom prst="line">
            <a:avLst/>
          </a:prstGeom>
          <a:ln w="762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95536" y="1772816"/>
            <a:ext cx="2016224" cy="0"/>
          </a:xfrm>
          <a:prstGeom prst="line">
            <a:avLst/>
          </a:prstGeom>
          <a:ln w="127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124760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08200" y="1628800"/>
            <a:ext cx="6096248" cy="46966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</a:t>
            </a: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ve localisation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LIU helped </a:t>
            </a:r>
            <a:r>
              <a:rPr lang="en-ZA" sz="1600" dirty="0" err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technologies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Pty) Ltd to develop valves used in high-voltage transformers </a:t>
            </a:r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kom had experienced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s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leaking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ed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ves</a:t>
            </a:r>
          </a:p>
          <a:p>
            <a:pPr marL="263525">
              <a:lnSpc>
                <a:spcPct val="110000"/>
              </a:lnSpc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4.0 practices for a local aerospace supplier</a:t>
            </a: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SI helped </a:t>
            </a:r>
            <a:r>
              <a:rPr lang="en-ZA" sz="1600" dirty="0" err="1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liff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ecision Engineering to implement real-time monitoring of all its machines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d and improved preparedness for implementation of product lifecycle management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anufacturing process for waveguides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SI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ed </a:t>
            </a:r>
            <a:r>
              <a:rPr lang="en-ZA" sz="1600" dirty="0" err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Space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ystems to print waveguides in 3D in titanium and aluminium alloys and developed a post-processing method to reduce surface roughness and improve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tivity</a:t>
            </a:r>
            <a:endParaRPr lang="en-GB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10975" y="1772816"/>
            <a:ext cx="1999911" cy="133360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1496" y="4725144"/>
            <a:ext cx="2018868" cy="129614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10975" y="3183235"/>
            <a:ext cx="1999911" cy="1437295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402818" y="6021288"/>
            <a:ext cx="2016224" cy="0"/>
          </a:xfrm>
          <a:prstGeom prst="line">
            <a:avLst/>
          </a:prstGeom>
          <a:ln w="762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02818" y="1772816"/>
            <a:ext cx="2016224" cy="0"/>
          </a:xfrm>
          <a:prstGeom prst="line">
            <a:avLst/>
          </a:prstGeom>
          <a:ln w="127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323850" y="116632"/>
            <a:ext cx="7128470" cy="1143000"/>
          </a:xfrm>
        </p:spPr>
        <p:txBody>
          <a:bodyPr>
            <a:noAutofit/>
          </a:bodyPr>
          <a:lstStyle/>
          <a:p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Research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o foster industrial </a:t>
            </a:r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70364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55776" y="1700808"/>
            <a:ext cx="612068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betes-detecting c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and patented a diabetes breath analyser, an alternative to the finger-prick blood test for detecting high blood sugar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icro-</a:t>
            </a:r>
            <a:r>
              <a:rPr lang="en-ZA" sz="1600" dirty="0" err="1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nochip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ects acetone, a by-product of high blood sugar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degradable plastics from agricultural waste</a:t>
            </a:r>
          </a:p>
          <a:p>
            <a:pPr marL="263525" indent="-263525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a fully biodegradable plastic material from agricultural waste by-products and biopolymers </a:t>
            </a:r>
          </a:p>
          <a:p>
            <a:pPr marL="263525" indent="-263525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aterial has been tested and validated as per international norms and 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-based </a:t>
            </a: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s to monitor the ocean</a:t>
            </a:r>
          </a:p>
          <a:p>
            <a:pPr marL="263525" indent="-263525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an early-warning tool to monitor and assess the risk of harmful algal blooms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south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an interactive flood risk viewer to visualise the predicted extent of coastal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oding for disaster managers, insurance companies and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12615"/>
          <a:stretch/>
        </p:blipFill>
        <p:spPr>
          <a:xfrm>
            <a:off x="395412" y="1782937"/>
            <a:ext cx="2016125" cy="135098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32641" r="4014" b="-1"/>
          <a:stretch/>
        </p:blipFill>
        <p:spPr>
          <a:xfrm>
            <a:off x="381615" y="4806769"/>
            <a:ext cx="2006212" cy="12865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5412" y="3261644"/>
            <a:ext cx="2016125" cy="1398535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71603" y="6093296"/>
            <a:ext cx="2016224" cy="0"/>
          </a:xfrm>
          <a:prstGeom prst="line">
            <a:avLst/>
          </a:prstGeom>
          <a:ln w="762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95536" y="1772816"/>
            <a:ext cx="2016224" cy="0"/>
          </a:xfrm>
          <a:prstGeom prst="line">
            <a:avLst/>
          </a:prstGeom>
          <a:ln w="127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323850" y="116632"/>
            <a:ext cx="7128470" cy="1143000"/>
          </a:xfrm>
        </p:spPr>
        <p:txBody>
          <a:bodyPr>
            <a:noAutofit/>
          </a:bodyPr>
          <a:lstStyle/>
          <a:p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Research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o foster industrial </a:t>
            </a:r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4757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3" descr="I:\SS\SS COMMS\D-PROFESSIONAL SERVICES\Publications\ScienceScope\2014 ScSc\Ideas that work\Copy &amp; photography\All_articles\ZZ_MONITOR_Cellnostics - pulled\004_50x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7209638" y="1919980"/>
            <a:ext cx="1610834" cy="1965534"/>
          </a:xfrm>
          <a:prstGeom prst="round2SameRect">
            <a:avLst>
              <a:gd name="adj1" fmla="val 4017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 descr="caption box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990549" y="1772817"/>
            <a:ext cx="2073859" cy="2351002"/>
          </a:xfrm>
          <a:prstGeom prst="rect">
            <a:avLst/>
          </a:prstGeom>
        </p:spPr>
      </p:pic>
      <p:pic>
        <p:nvPicPr>
          <p:cNvPr id="57" name="Picture 5" descr="I:\SS\SS COMMS\D-PROFESSIONAL SERVICES\Photographs Library\Unit specific pics\MSM\Latest titanium shots\KAIM106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4912336" y="1916832"/>
            <a:ext cx="1649230" cy="1816600"/>
          </a:xfrm>
          <a:prstGeom prst="round2SameRect">
            <a:avLst>
              <a:gd name="adj1" fmla="val 7552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 descr="caption box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716016" y="1772817"/>
            <a:ext cx="2073859" cy="23510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251520" y="4595640"/>
            <a:ext cx="1604332" cy="14401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932040" y="4594111"/>
            <a:ext cx="1656184" cy="22644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7154272" y="4605054"/>
            <a:ext cx="1666199" cy="21363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2555776" y="4594284"/>
            <a:ext cx="1656184" cy="2287858"/>
          </a:xfrm>
          <a:prstGeom prst="rect">
            <a:avLst/>
          </a:prstGeom>
        </p:spPr>
      </p:pic>
      <p:pic>
        <p:nvPicPr>
          <p:cNvPr id="45" name="Picture 44" descr="caption box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962637" y="4449498"/>
            <a:ext cx="2073859" cy="2501352"/>
          </a:xfrm>
          <a:prstGeom prst="rect">
            <a:avLst/>
          </a:prstGeom>
        </p:spPr>
      </p:pic>
      <p:pic>
        <p:nvPicPr>
          <p:cNvPr id="46" name="Picture 45" descr="caption box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730389" y="4449498"/>
            <a:ext cx="2073859" cy="2501352"/>
          </a:xfrm>
          <a:prstGeom prst="rect">
            <a:avLst/>
          </a:prstGeom>
        </p:spPr>
      </p:pic>
      <p:pic>
        <p:nvPicPr>
          <p:cNvPr id="48" name="Picture 47" descr="caption box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354125" y="4449498"/>
            <a:ext cx="2073859" cy="2501352"/>
          </a:xfrm>
          <a:prstGeom prst="rect">
            <a:avLst/>
          </a:prstGeom>
        </p:spPr>
      </p:pic>
      <p:pic>
        <p:nvPicPr>
          <p:cNvPr id="47" name="Picture 46" descr="caption box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5496" y="4449498"/>
            <a:ext cx="2073859" cy="250135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2547702" y="1922166"/>
            <a:ext cx="1637599" cy="180739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b="-2851"/>
          <a:stretch/>
        </p:blipFill>
        <p:spPr>
          <a:xfrm>
            <a:off x="267304" y="1934502"/>
            <a:ext cx="1613742" cy="1528476"/>
          </a:xfrm>
          <a:prstGeom prst="rect">
            <a:avLst/>
          </a:prstGeom>
        </p:spPr>
      </p:pic>
      <p:pic>
        <p:nvPicPr>
          <p:cNvPr id="41" name="Picture 40" descr="caption box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354928" y="1772817"/>
            <a:ext cx="2073859" cy="2351002"/>
          </a:xfrm>
          <a:prstGeom prst="rect">
            <a:avLst/>
          </a:prstGeom>
        </p:spPr>
      </p:pic>
      <p:pic>
        <p:nvPicPr>
          <p:cNvPr id="44" name="Picture 43" descr="caption box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2634" y="1776031"/>
            <a:ext cx="2073859" cy="2354381"/>
          </a:xfrm>
          <a:prstGeom prst="rect">
            <a:avLst/>
          </a:prstGeom>
        </p:spPr>
      </p:pic>
      <p:sp>
        <p:nvSpPr>
          <p:cNvPr id="70" name="TextBox 21"/>
          <p:cNvSpPr txBox="1">
            <a:spLocks noChangeAspect="1" noChangeArrowheads="1"/>
          </p:cNvSpPr>
          <p:nvPr/>
        </p:nvSpPr>
        <p:spPr bwMode="auto">
          <a:xfrm>
            <a:off x="628968" y="1628800"/>
            <a:ext cx="7776864" cy="307777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>
            <a:defPPr>
              <a:defRPr lang="en-GB"/>
            </a:defPPr>
            <a:lvl1pPr marL="180975">
              <a:defRPr sz="2400" b="1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 defTabSz="457200"/>
            <a:r>
              <a:rPr lang="en-US" sz="1400" dirty="0" smtClean="0">
                <a:solidFill>
                  <a:srgbClr val="032C50"/>
                </a:solidFill>
              </a:rPr>
              <a:t>PATENTS: </a:t>
            </a:r>
            <a:r>
              <a:rPr lang="en-US" sz="1400" b="0" dirty="0" smtClean="0">
                <a:solidFill>
                  <a:srgbClr val="032C50"/>
                </a:solidFill>
              </a:rPr>
              <a:t>A</a:t>
            </a:r>
            <a:r>
              <a:rPr lang="en-ZA" sz="1400" b="0" dirty="0" smtClean="0">
                <a:solidFill>
                  <a:srgbClr val="032C50"/>
                </a:solidFill>
              </a:rPr>
              <a:t> LEAD INDICATOR OF INNOVATION</a:t>
            </a:r>
            <a:endParaRPr lang="en-US" sz="1400" b="0" dirty="0" smtClean="0">
              <a:solidFill>
                <a:srgbClr val="032C50"/>
              </a:solidFill>
            </a:endParaRPr>
          </a:p>
        </p:txBody>
      </p:sp>
      <p:sp>
        <p:nvSpPr>
          <p:cNvPr id="72" name="TextBox 21"/>
          <p:cNvSpPr txBox="1">
            <a:spLocks noChangeAspect="1" noChangeArrowheads="1"/>
          </p:cNvSpPr>
          <p:nvPr/>
        </p:nvSpPr>
        <p:spPr bwMode="auto">
          <a:xfrm>
            <a:off x="-1332656" y="4149080"/>
            <a:ext cx="11700112" cy="307777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>
            <a:defPPr>
              <a:defRPr lang="en-GB"/>
            </a:defPPr>
            <a:lvl1pPr marL="180975">
              <a:defRPr sz="2400" b="1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ctr" defTabSz="457200"/>
            <a:r>
              <a:rPr lang="en-ZA" sz="1400" dirty="0" smtClean="0">
                <a:solidFill>
                  <a:srgbClr val="012D50"/>
                </a:solidFill>
              </a:rPr>
              <a:t>JOURNAL ARTICLES, BOOKS: </a:t>
            </a:r>
            <a:r>
              <a:rPr lang="en-ZA" sz="1400" b="0" dirty="0" smtClean="0">
                <a:solidFill>
                  <a:srgbClr val="012D50"/>
                </a:solidFill>
              </a:rPr>
              <a:t>CONTRIBUTING TO THE KNOWLEDGE BASE</a:t>
            </a:r>
            <a:endParaRPr lang="en-US" sz="1400" b="0" dirty="0" smtClean="0">
              <a:solidFill>
                <a:srgbClr val="012D50"/>
              </a:solidFill>
            </a:endParaRPr>
          </a:p>
        </p:txBody>
      </p:sp>
      <p:sp>
        <p:nvSpPr>
          <p:cNvPr id="84" name="Rectangle 83"/>
          <p:cNvSpPr>
            <a:spLocks noChangeAspect="1"/>
          </p:cNvSpPr>
          <p:nvPr/>
        </p:nvSpPr>
        <p:spPr>
          <a:xfrm>
            <a:off x="2483768" y="3212976"/>
            <a:ext cx="172659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ZA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ZA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oval </a:t>
            </a:r>
            <a:r>
              <a:rPr lang="en-ZA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phosphates from municipal </a:t>
            </a:r>
            <a:r>
              <a:rPr lang="en-ZA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luents: Australia</a:t>
            </a:r>
            <a:endParaRPr lang="en-GB" sz="11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Rectangle 85"/>
          <p:cNvSpPr>
            <a:spLocks noChangeAspect="1"/>
          </p:cNvSpPr>
          <p:nvPr/>
        </p:nvSpPr>
        <p:spPr>
          <a:xfrm>
            <a:off x="7164288" y="3212976"/>
            <a:ext cx="165618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ZA" sz="1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for the analysis of blood samples: </a:t>
            </a:r>
            <a:r>
              <a:rPr lang="en-ZA" sz="1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ZA" sz="1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1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na</a:t>
            </a:r>
            <a:endParaRPr lang="en-GB" sz="11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tangle 110"/>
          <p:cNvSpPr>
            <a:spLocks noChangeAspect="1"/>
          </p:cNvSpPr>
          <p:nvPr/>
        </p:nvSpPr>
        <p:spPr>
          <a:xfrm>
            <a:off x="7062110" y="6002704"/>
            <a:ext cx="183037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ZA" sz="10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efficient inactivation of bacteria found in drinking water using chitosan-bentonite composites</a:t>
            </a:r>
            <a:endParaRPr lang="en-GB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113"/>
          <p:cNvSpPr>
            <a:spLocks noChangeAspect="1"/>
          </p:cNvSpPr>
          <p:nvPr/>
        </p:nvSpPr>
        <p:spPr>
          <a:xfrm>
            <a:off x="75797" y="6002704"/>
            <a:ext cx="19759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GB" sz="10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on the current practices and efforts toward pilot-scale production of metal-organic frameworks</a:t>
            </a:r>
            <a:endParaRPr lang="en-GB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AutoShape 2" descr="Cover image Coordination Chemistry Reviews"/>
          <p:cNvSpPr>
            <a:spLocks noChangeAspect="1" noChangeArrowheads="1"/>
          </p:cNvSpPr>
          <p:nvPr/>
        </p:nvSpPr>
        <p:spPr bwMode="auto">
          <a:xfrm>
            <a:off x="318413" y="1096448"/>
            <a:ext cx="246888" cy="246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ZA">
              <a:solidFill>
                <a:prstClr val="black"/>
              </a:solidFill>
            </a:endParaRPr>
          </a:p>
        </p:txBody>
      </p:sp>
      <p:sp>
        <p:nvSpPr>
          <p:cNvPr id="6" name="AutoShape 4" descr="Cover image Coordination Chemistry Reviews"/>
          <p:cNvSpPr>
            <a:spLocks noChangeAspect="1" noChangeArrowheads="1"/>
          </p:cNvSpPr>
          <p:nvPr/>
        </p:nvSpPr>
        <p:spPr bwMode="auto">
          <a:xfrm>
            <a:off x="470813" y="1248848"/>
            <a:ext cx="246888" cy="246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ZA">
              <a:solidFill>
                <a:prstClr val="black"/>
              </a:solidFill>
            </a:endParaRPr>
          </a:p>
        </p:txBody>
      </p:sp>
      <p:sp>
        <p:nvSpPr>
          <p:cNvPr id="109" name="Rectangle 108"/>
          <p:cNvSpPr>
            <a:spLocks noChangeAspect="1"/>
          </p:cNvSpPr>
          <p:nvPr/>
        </p:nvSpPr>
        <p:spPr>
          <a:xfrm>
            <a:off x="4724559" y="6002704"/>
            <a:ext cx="19759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GB" sz="10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reen Building Handbook, Volume 11</a:t>
            </a:r>
            <a:endParaRPr lang="en-GB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>
            <a:spLocks noChangeAspect="1"/>
          </p:cNvSpPr>
          <p:nvPr/>
        </p:nvSpPr>
        <p:spPr>
          <a:xfrm>
            <a:off x="2526404" y="6002704"/>
            <a:ext cx="16855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GB" sz="10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r-derived </a:t>
            </a:r>
            <a:r>
              <a:rPr lang="en-GB" sz="105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NAs</a:t>
            </a:r>
            <a:r>
              <a:rPr lang="en-GB" sz="10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gulate genome architecture: fact or fiction?</a:t>
            </a:r>
            <a:endParaRPr lang="en-GB" sz="10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82"/>
          <p:cNvSpPr>
            <a:spLocks noChangeAspect="1"/>
          </p:cNvSpPr>
          <p:nvPr/>
        </p:nvSpPr>
        <p:spPr>
          <a:xfrm>
            <a:off x="251520" y="3212976"/>
            <a:ext cx="172819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ZA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ing the integrity of </a:t>
            </a:r>
            <a:r>
              <a:rPr lang="en-ZA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ock mass: </a:t>
            </a:r>
            <a:br>
              <a:rPr lang="en-ZA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ada </a:t>
            </a:r>
            <a:endParaRPr lang="en-GB" sz="11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Rectangle 84"/>
          <p:cNvSpPr>
            <a:spLocks noChangeAspect="1"/>
          </p:cNvSpPr>
          <p:nvPr/>
        </p:nvSpPr>
        <p:spPr>
          <a:xfrm>
            <a:off x="4860032" y="3212976"/>
            <a:ext cx="179267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ZA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ing crystal-line titanium powder</a:t>
            </a:r>
            <a:r>
              <a:rPr lang="en-ZA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Europe, Russia, Ukraine, Kazakhstan, USA</a:t>
            </a:r>
            <a:endParaRPr lang="en-GB" sz="11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Rectangle 36"/>
          <p:cNvSpPr>
            <a:spLocks noChangeAspect="1"/>
          </p:cNvSpPr>
          <p:nvPr/>
        </p:nvSpPr>
        <p:spPr>
          <a:xfrm>
            <a:off x="261235" y="116632"/>
            <a:ext cx="63269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to foster </a:t>
            </a:r>
            <a:r>
              <a:rPr lang="en-ZA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tific development</a:t>
            </a:r>
            <a:endParaRPr lang="en-US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2565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850" y="404664"/>
            <a:ext cx="6696744" cy="648072"/>
          </a:xfrm>
        </p:spPr>
        <p:txBody>
          <a:bodyPr>
            <a:noAutofit/>
          </a:bodyPr>
          <a:lstStyle/>
          <a:p>
            <a:pPr algn="l"/>
            <a:r>
              <a:rPr lang="en-ZA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 renewal and development</a:t>
            </a:r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627784" y="1700808"/>
            <a:ext cx="612068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 err="1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refinery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New facility for biomass wa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37.5 million Biorefinery Industry Development Facility launched to extract maximum value from biomass wa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ies for prototyping, </a:t>
            </a:r>
            <a:r>
              <a:rPr lang="en-ZA" sz="1600" dirty="0" err="1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scaling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ilot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e,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forestry, extracting high-value chemicals</a:t>
            </a:r>
          </a:p>
          <a:p>
            <a:endParaRPr lang="en-ZA" sz="1600" b="1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nics: Growing SA’s photonics industry</a:t>
            </a: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hotonics prototyping facility that acts as a photonics technology accelerator to be launched this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seed projects: extracting surface and sub-dermal fingerprints and laser range-finder for the archery indu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andela Mining Precinct</a:t>
            </a: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rdinates research activities toward the revitalisation of </a:t>
            </a:r>
            <a:r>
              <a:rPr lang="en-ZA" sz="16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ng </a:t>
            </a:r>
            <a:r>
              <a:rPr lang="en-ZA" sz="160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r, more efficient m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ies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search hub for researchers, equipment manufacturers and mining companies to collaborate and will include innovative mining simulation cent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to be launched 14 September 2018</a:t>
            </a:r>
            <a:endParaRPr lang="en-GB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536" y="1772816"/>
            <a:ext cx="2016479" cy="13443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95536" y="3234301"/>
            <a:ext cx="2016479" cy="129243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536" y="4643901"/>
            <a:ext cx="2016224" cy="1344150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95536" y="6021288"/>
            <a:ext cx="2016224" cy="0"/>
          </a:xfrm>
          <a:prstGeom prst="line">
            <a:avLst/>
          </a:prstGeom>
          <a:ln w="762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95536" y="1772816"/>
            <a:ext cx="2016224" cy="0"/>
          </a:xfrm>
          <a:prstGeom prst="line">
            <a:avLst/>
          </a:prstGeom>
          <a:ln w="127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461716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The Campus Master Plan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386" t="10251" r="868" b="10923"/>
          <a:stretch/>
        </p:blipFill>
        <p:spPr>
          <a:xfrm>
            <a:off x="395536" y="1772817"/>
            <a:ext cx="2016224" cy="138255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2669" r="12342"/>
          <a:stretch/>
        </p:blipFill>
        <p:spPr>
          <a:xfrm>
            <a:off x="395536" y="4662060"/>
            <a:ext cx="2016224" cy="1339684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395536" y="6021288"/>
            <a:ext cx="2016224" cy="0"/>
          </a:xfrm>
          <a:prstGeom prst="line">
            <a:avLst/>
          </a:prstGeom>
          <a:ln w="762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95536" y="1772816"/>
            <a:ext cx="2016224" cy="0"/>
          </a:xfrm>
          <a:prstGeom prst="line">
            <a:avLst/>
          </a:prstGeom>
          <a:ln w="12700" cmpd="sng">
            <a:solidFill>
              <a:srgbClr val="82AE1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5536" y="3188289"/>
            <a:ext cx="2016224" cy="142111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2521743" y="1711471"/>
            <a:ext cx="662225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d Campus Planning and Development Office </a:t>
            </a:r>
          </a:p>
          <a:p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 engagement 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aged with the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Treasury, DST, Minister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Science and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, the NRF and several Parliament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s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aration </a:t>
            </a:r>
            <a:r>
              <a:rPr lang="en-ZA" sz="1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implementation roadmap/five-year operational plan  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d market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pre-feasibility studies for key priority projects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ZA" sz="1600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ised the implementation of the Gateway to Science and Innovation Centre</a:t>
            </a:r>
          </a:p>
          <a:p>
            <a:endParaRPr lang="en-ZA" sz="1600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 campaign for priority projects underway</a:t>
            </a:r>
            <a:endParaRPr lang="en-ZA" sz="16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ful initial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 interaction to test investor 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et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mitted National Treasury large </a:t>
            </a:r>
            <a:r>
              <a:rPr lang="en-ZA" sz="1600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 bid to secure fund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 proposals to </a:t>
            </a:r>
            <a:r>
              <a:rPr lang="en-ZA" sz="1600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ti</a:t>
            </a: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ritical Infrastructure Program and the </a:t>
            </a:r>
            <a:b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SA Green F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PP process for residential development and EAC programme underway</a:t>
            </a:r>
            <a:endParaRPr lang="en-GB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44046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07704" y="4149080"/>
            <a:ext cx="5220072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ZA" sz="2600" b="1" dirty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</a:t>
            </a:r>
            <a:endParaRPr lang="en-ZA" sz="20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457200">
              <a:defRPr/>
            </a:pPr>
            <a:endParaRPr lang="en-ZA" sz="2400" b="1" dirty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95485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hairman’s overview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67544" y="1916832"/>
            <a:ext cx="820891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sitioning the CSIR as an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-focused </a:t>
            </a: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ion</a:t>
            </a:r>
          </a:p>
          <a:p>
            <a:endParaRPr lang="en-ZA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amental</a:t>
            </a: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ientific research remains key in our quest to alleviate unemployment, poverty and inequality</a:t>
            </a:r>
          </a:p>
          <a:p>
            <a:endParaRPr lang="en-ZA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aging with our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s</a:t>
            </a: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understand and address their needs</a:t>
            </a:r>
          </a:p>
          <a:p>
            <a:endParaRPr lang="en-ZA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ing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nerships </a:t>
            </a: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elp maximise our cross-disciplinary expertise, accelerate innovation and develop technological 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d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lean audit report </a:t>
            </a: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Auditor-General</a:t>
            </a:r>
          </a:p>
          <a:p>
            <a:endParaRPr lang="en-ZA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 in addressing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base growth </a:t>
            </a: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national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  </a:t>
            </a:r>
          </a:p>
          <a:p>
            <a:endParaRPr lang="en-ZA" dirty="0" smtClean="0">
              <a:solidFill>
                <a:srgbClr val="032C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</a:t>
            </a:r>
            <a:r>
              <a:rPr lang="en-ZA" b="1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pus Master Plan </a:t>
            </a:r>
            <a:r>
              <a:rPr lang="en-ZA" dirty="0" smtClean="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an instrumental initiative for infrastructure renewa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10722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331640" y="1916832"/>
            <a:ext cx="6468982" cy="41045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mandate icon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331640" y="1339214"/>
            <a:ext cx="6468982" cy="101336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23850" y="476672"/>
            <a:ext cx="69259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SIR mandate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03648" y="2132855"/>
            <a:ext cx="6336704" cy="3971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GB" sz="2800" b="1" baseline="30000" dirty="0" smtClean="0">
                <a:solidFill>
                  <a:srgbClr val="37ACC0"/>
                </a:solidFill>
                <a:latin typeface="Arial"/>
                <a:cs typeface="Arial"/>
              </a:rPr>
              <a:t>CSIR MANDATE					   </a:t>
            </a:r>
            <a:endParaRPr lang="en-GB" sz="2800" b="1" baseline="30000" dirty="0">
              <a:solidFill>
                <a:srgbClr val="37ACC0"/>
              </a:solidFill>
              <a:latin typeface="Arial"/>
              <a:cs typeface="Arial"/>
            </a:endParaRPr>
          </a:p>
          <a:p>
            <a:pPr>
              <a:lnSpc>
                <a:spcPct val="110000"/>
              </a:lnSpc>
            </a:pPr>
            <a:r>
              <a:rPr lang="en-GB" sz="2800" baseline="30000" dirty="0" smtClean="0">
                <a:solidFill>
                  <a:srgbClr val="012D50"/>
                </a:solidFill>
                <a:latin typeface="Arial"/>
                <a:cs typeface="Arial"/>
              </a:rPr>
              <a:t>“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The objects of the CSIR are, through 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directed 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and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 particularly multi-disciplinary research 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and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 technological innovation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, to foster, in the national interest and in fields which in its opinion should receive preference, 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industrial 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and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 scientific development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, either by itself or in 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co-operation with principals 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from the 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private 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or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 public sectors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, and thereby to contribute to the </a:t>
            </a:r>
            <a:r>
              <a:rPr lang="en-GB" sz="2800" b="1" baseline="30000" dirty="0">
                <a:solidFill>
                  <a:srgbClr val="012D50"/>
                </a:solidFill>
                <a:latin typeface="Arial"/>
                <a:cs typeface="Arial"/>
              </a:rPr>
              <a:t>improvement of the quality of life </a:t>
            </a:r>
            <a:r>
              <a:rPr lang="en-GB" sz="2800" baseline="30000" dirty="0">
                <a:solidFill>
                  <a:srgbClr val="012D50"/>
                </a:solidFill>
                <a:latin typeface="Arial"/>
                <a:cs typeface="Arial"/>
              </a:rPr>
              <a:t>of the people of the Republic, and to perform any other functions that may be assigned to the CSIR by or under this Act.</a:t>
            </a:r>
            <a:r>
              <a:rPr lang="en-GB" sz="2800" baseline="30000" dirty="0" smtClean="0">
                <a:solidFill>
                  <a:srgbClr val="012D50"/>
                </a:solidFill>
                <a:latin typeface="Arial"/>
                <a:cs typeface="Arial"/>
              </a:rPr>
              <a:t>”</a:t>
            </a:r>
          </a:p>
          <a:p>
            <a:pPr algn="just">
              <a:lnSpc>
                <a:spcPct val="110000"/>
              </a:lnSpc>
            </a:pPr>
            <a:endParaRPr lang="en-GB" b="1" baseline="30000" dirty="0" smtClean="0">
              <a:solidFill>
                <a:srgbClr val="919191"/>
              </a:solidFill>
              <a:latin typeface="Arial"/>
              <a:cs typeface="Arial"/>
            </a:endParaRPr>
          </a:p>
          <a:p>
            <a:pPr algn="just">
              <a:lnSpc>
                <a:spcPct val="110000"/>
              </a:lnSpc>
            </a:pPr>
            <a:r>
              <a:rPr lang="en-GB" b="1" i="1" baseline="30000" dirty="0" smtClean="0">
                <a:solidFill>
                  <a:srgbClr val="919191"/>
                </a:solidFill>
                <a:latin typeface="Arial"/>
                <a:cs typeface="Arial"/>
              </a:rPr>
              <a:t>(Scientific </a:t>
            </a:r>
            <a:r>
              <a:rPr lang="en-GB" b="1" i="1" baseline="30000" dirty="0">
                <a:solidFill>
                  <a:srgbClr val="919191"/>
                </a:solidFill>
                <a:latin typeface="Arial"/>
                <a:cs typeface="Arial"/>
              </a:rPr>
              <a:t>Research Council </a:t>
            </a:r>
            <a:r>
              <a:rPr lang="en-GB" b="1" i="1" baseline="30000" dirty="0" smtClean="0">
                <a:solidFill>
                  <a:srgbClr val="919191"/>
                </a:solidFill>
                <a:latin typeface="Arial"/>
                <a:cs typeface="Arial"/>
              </a:rPr>
              <a:t>Act </a:t>
            </a:r>
            <a:r>
              <a:rPr lang="en-GB" b="1" i="1" baseline="30000" dirty="0">
                <a:solidFill>
                  <a:srgbClr val="919191"/>
                </a:solidFill>
                <a:latin typeface="Arial"/>
                <a:cs typeface="Arial"/>
              </a:rPr>
              <a:t>46 of </a:t>
            </a:r>
            <a:r>
              <a:rPr lang="en-GB" b="1" i="1" baseline="30000" dirty="0" smtClean="0">
                <a:solidFill>
                  <a:srgbClr val="919191"/>
                </a:solidFill>
                <a:latin typeface="Arial"/>
                <a:cs typeface="Arial"/>
              </a:rPr>
              <a:t>1988, amended </a:t>
            </a:r>
            <a:r>
              <a:rPr lang="en-GB" b="1" i="1" baseline="30000" dirty="0">
                <a:solidFill>
                  <a:srgbClr val="919191"/>
                </a:solidFill>
                <a:latin typeface="Arial"/>
                <a:cs typeface="Arial"/>
              </a:rPr>
              <a:t>by Act 71 of 1990</a:t>
            </a:r>
            <a:r>
              <a:rPr lang="en-GB" b="1" i="1" baseline="30000" dirty="0" smtClean="0">
                <a:solidFill>
                  <a:srgbClr val="919191"/>
                </a:solidFill>
                <a:latin typeface="Arial"/>
                <a:cs typeface="Arial"/>
              </a:rPr>
              <a:t>)</a:t>
            </a:r>
            <a:endParaRPr lang="en-GB" b="1" baseline="30000" dirty="0">
              <a:solidFill>
                <a:srgbClr val="91919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3096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dge-03-03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449239" y="2175900"/>
            <a:ext cx="1222278" cy="112018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983425" y="5844720"/>
            <a:ext cx="2297425" cy="400110"/>
          </a:xfrm>
          <a:prstGeom prst="rect">
            <a:avLst/>
          </a:prstGeom>
          <a:solidFill>
            <a:srgbClr val="37ACC0"/>
          </a:solidFill>
          <a:ln w="3175">
            <a:noFill/>
            <a:prstDash val="solid"/>
          </a:ln>
        </p:spPr>
        <p:txBody>
          <a:bodyPr wrap="none">
            <a:spAutoFit/>
          </a:bodyPr>
          <a:lstStyle/>
          <a:p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Contract income</a:t>
            </a:r>
            <a:r>
              <a:rPr lang="en-ZA" sz="1000" dirty="0">
                <a:solidFill>
                  <a:srgbClr val="032C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:</a:t>
            </a:r>
            <a:r>
              <a:rPr lang="en-ZA" sz="1000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R1 771 </a:t>
            </a:r>
            <a:r>
              <a:rPr lang="en-ZA" sz="1000" b="1" dirty="0">
                <a:solidFill>
                  <a:schemeClr val="bg1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m</a:t>
            </a:r>
          </a:p>
          <a:p>
            <a:r>
              <a:rPr lang="en-ZA" sz="1000" dirty="0">
                <a:solidFill>
                  <a:srgbClr val="032C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Royalty and licence income: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R4.61 m</a:t>
            </a:r>
          </a:p>
        </p:txBody>
      </p:sp>
      <p:sp>
        <p:nvSpPr>
          <p:cNvPr id="6" name="Rectangle 5"/>
          <p:cNvSpPr/>
          <p:nvPr/>
        </p:nvSpPr>
        <p:spPr>
          <a:xfrm>
            <a:off x="1720640" y="3198395"/>
            <a:ext cx="2125903" cy="553998"/>
          </a:xfrm>
          <a:prstGeom prst="rect">
            <a:avLst/>
          </a:prstGeom>
          <a:solidFill>
            <a:srgbClr val="37ACC0"/>
          </a:solidFill>
          <a:ln w="3175">
            <a:noFill/>
            <a:prstDash val="solid"/>
          </a:ln>
        </p:spPr>
        <p:txBody>
          <a:bodyPr wrap="none">
            <a:spAutoFit/>
          </a:bodyPr>
          <a:lstStyle/>
          <a:p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SET base: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1 850</a:t>
            </a:r>
          </a:p>
          <a:p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Black South Africans: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1 </a:t>
            </a:r>
            <a:r>
              <a:rPr lang="en-ZA" sz="1000" b="1" dirty="0" smtClean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139 (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59%)</a:t>
            </a:r>
          </a:p>
          <a:p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Female South Africans: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674 (35%)</a:t>
            </a:r>
          </a:p>
        </p:txBody>
      </p:sp>
      <p:sp>
        <p:nvSpPr>
          <p:cNvPr id="8" name="Rectangle 7"/>
          <p:cNvSpPr/>
          <p:nvPr/>
        </p:nvSpPr>
        <p:spPr>
          <a:xfrm>
            <a:off x="323850" y="461618"/>
            <a:ext cx="79928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he CSIR at a glance</a:t>
            </a:r>
          </a:p>
        </p:txBody>
      </p:sp>
      <p:sp>
        <p:nvSpPr>
          <p:cNvPr id="9" name="Rectangle 8"/>
          <p:cNvSpPr/>
          <p:nvPr/>
        </p:nvSpPr>
        <p:spPr>
          <a:xfrm>
            <a:off x="107504" y="1772816"/>
            <a:ext cx="92170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16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The CSIR is a science council, classified as a national government </a:t>
            </a:r>
            <a:r>
              <a:rPr lang="en-ZA" sz="1600" dirty="0" smtClean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business </a:t>
            </a:r>
            <a:r>
              <a:rPr lang="en-ZA" sz="16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enterprise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0617" y="3198395"/>
            <a:ext cx="1443024" cy="553998"/>
          </a:xfrm>
          <a:prstGeom prst="rect">
            <a:avLst/>
          </a:prstGeom>
          <a:solidFill>
            <a:srgbClr val="37ACC0"/>
          </a:solidFill>
          <a:ln w="3175">
            <a:noFill/>
            <a:prstDash val="solid"/>
          </a:ln>
        </p:spPr>
        <p:txBody>
          <a:bodyPr wrap="none">
            <a:spAutoFit/>
          </a:bodyPr>
          <a:lstStyle/>
          <a:p>
            <a:pPr algn="ctr"/>
            <a:endParaRPr lang="en-ZA" sz="1000" dirty="0" smtClean="0">
              <a:solidFill>
                <a:srgbClr val="012D50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  <a:p>
            <a:pPr algn="ctr"/>
            <a:r>
              <a:rPr lang="en-ZA" sz="1000" dirty="0" smtClean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Total </a:t>
            </a:r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staff base: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2 </a:t>
            </a:r>
            <a:r>
              <a:rPr lang="en-ZA" sz="1000" b="1" dirty="0" smtClean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619</a:t>
            </a:r>
          </a:p>
          <a:p>
            <a:pPr algn="ctr"/>
            <a:endParaRPr lang="en-ZA" sz="1000" b="1" dirty="0">
              <a:solidFill>
                <a:srgbClr val="EC6E1F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pic>
        <p:nvPicPr>
          <p:cNvPr id="12" name="Picture 11" descr="Diagrams-04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55776" y="2780928"/>
            <a:ext cx="453549" cy="37229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932875" y="3198395"/>
            <a:ext cx="1914307" cy="553998"/>
          </a:xfrm>
          <a:prstGeom prst="rect">
            <a:avLst/>
          </a:prstGeom>
          <a:solidFill>
            <a:srgbClr val="37ACC0"/>
          </a:solidFill>
          <a:ln w="3175">
            <a:noFill/>
            <a:prstDash val="solid"/>
          </a:ln>
        </p:spPr>
        <p:txBody>
          <a:bodyPr wrap="none">
            <a:spAutoFit/>
          </a:bodyPr>
          <a:lstStyle/>
          <a:p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Staff with PhDs: </a:t>
            </a:r>
            <a:r>
              <a:rPr lang="en-ZA" sz="1000" b="1" dirty="0" smtClean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348</a:t>
            </a:r>
            <a:endParaRPr lang="en-ZA" sz="1000" b="1" dirty="0">
              <a:solidFill>
                <a:srgbClr val="FFFFFF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  <a:p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Staff with M-qualifications: </a:t>
            </a:r>
            <a:r>
              <a:rPr lang="en-ZA" sz="1000" b="1" dirty="0" smtClean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631</a:t>
            </a:r>
            <a:endParaRPr lang="en-ZA" sz="1000" b="1" dirty="0">
              <a:solidFill>
                <a:srgbClr val="FFFFFF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  <a:p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Pipeline development</a:t>
            </a:r>
            <a:r>
              <a:rPr lang="en-ZA" sz="1000" dirty="0">
                <a:solidFill>
                  <a:srgbClr val="032C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:</a:t>
            </a:r>
            <a:r>
              <a:rPr lang="en-ZA" sz="1000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 </a:t>
            </a:r>
            <a:r>
              <a:rPr lang="en-ZA" sz="1000" b="1" dirty="0" smtClean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725</a:t>
            </a:r>
            <a:endParaRPr lang="en-ZA" sz="1000" b="1" dirty="0">
              <a:solidFill>
                <a:srgbClr val="FFFFFF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96649" y="5847230"/>
            <a:ext cx="1693512" cy="400110"/>
          </a:xfrm>
          <a:prstGeom prst="rect">
            <a:avLst/>
          </a:prstGeom>
          <a:solidFill>
            <a:srgbClr val="37ACC0"/>
          </a:solidFill>
          <a:ln w="3175">
            <a:noFill/>
            <a:prstDash val="solid"/>
          </a:ln>
        </p:spPr>
        <p:txBody>
          <a:bodyPr wrap="square">
            <a:spAutoFit/>
          </a:bodyPr>
          <a:lstStyle/>
          <a:p>
            <a:r>
              <a:rPr lang="en-ZA" sz="1000" dirty="0" smtClean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Total </a:t>
            </a:r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income:  </a:t>
            </a:r>
            <a:r>
              <a:rPr lang="en-ZA" sz="1000" b="1" dirty="0">
                <a:solidFill>
                  <a:schemeClr val="bg1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R 2 506 </a:t>
            </a:r>
            <a:r>
              <a:rPr lang="en-ZA" sz="1000" b="1" dirty="0" smtClean="0">
                <a:solidFill>
                  <a:schemeClr val="bg1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m</a:t>
            </a:r>
          </a:p>
          <a:p>
            <a:endParaRPr lang="en-ZA" sz="1000" b="1" dirty="0">
              <a:solidFill>
                <a:schemeClr val="bg1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83768" y="5157192"/>
            <a:ext cx="430531" cy="55654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07504" y="2060848"/>
            <a:ext cx="15525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600" b="1" dirty="0">
                <a:solidFill>
                  <a:srgbClr val="032C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IN NUMBERS:</a:t>
            </a:r>
            <a:endParaRPr lang="en-ZA" sz="1600" dirty="0">
              <a:solidFill>
                <a:srgbClr val="032C50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pic>
        <p:nvPicPr>
          <p:cNvPr id="18" name="Picture 17" descr="Diagrams-03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83568" y="2708920"/>
            <a:ext cx="494673" cy="40605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644008" y="2708920"/>
            <a:ext cx="570220" cy="472291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3347864" y="4005064"/>
            <a:ext cx="2520280" cy="886874"/>
            <a:chOff x="3491424" y="4211210"/>
            <a:chExt cx="2520280" cy="886874"/>
          </a:xfrm>
          <a:solidFill>
            <a:srgbClr val="37ACC0"/>
          </a:solidFill>
        </p:grpSpPr>
        <p:sp>
          <p:nvSpPr>
            <p:cNvPr id="22" name="Rectangle 21"/>
            <p:cNvSpPr/>
            <p:nvPr/>
          </p:nvSpPr>
          <p:spPr>
            <a:xfrm>
              <a:off x="3491424" y="4697974"/>
              <a:ext cx="2520280" cy="400110"/>
            </a:xfrm>
            <a:prstGeom prst="rect">
              <a:avLst/>
            </a:prstGeom>
            <a:grpFill/>
            <a:ln w="3175">
              <a:noFill/>
              <a:prstDash val="solid"/>
            </a:ln>
          </p:spPr>
          <p:txBody>
            <a:bodyPr wrap="square">
              <a:spAutoFit/>
            </a:bodyPr>
            <a:lstStyle/>
            <a:p>
              <a:r>
                <a:rPr lang="en-ZA" sz="1000" dirty="0" smtClean="0">
                  <a:solidFill>
                    <a:srgbClr val="012D50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New </a:t>
              </a:r>
              <a:r>
                <a:rPr lang="en-ZA" sz="1000" dirty="0">
                  <a:solidFill>
                    <a:srgbClr val="012D50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technology demonstrators:</a:t>
              </a:r>
              <a:r>
                <a:rPr lang="en-ZA" sz="1000" b="1" dirty="0">
                  <a:solidFill>
                    <a:srgbClr val="EC6E1F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 </a:t>
              </a:r>
              <a:r>
                <a:rPr lang="en-ZA" sz="1000" b="1" dirty="0" smtClean="0">
                  <a:solidFill>
                    <a:srgbClr val="FFFFFF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60</a:t>
              </a:r>
            </a:p>
            <a:p>
              <a:pPr algn="ctr"/>
              <a:endPara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endParaRPr>
            </a:p>
          </p:txBody>
        </p:sp>
        <p:pic>
          <p:nvPicPr>
            <p:cNvPr id="24" name="Picture 23" descr="icons 1-17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4355976" y="4211210"/>
              <a:ext cx="362604" cy="451310"/>
            </a:xfrm>
            <a:prstGeom prst="rect">
              <a:avLst/>
            </a:prstGeom>
            <a:noFill/>
          </p:spPr>
        </p:pic>
      </p:grpSp>
      <p:grpSp>
        <p:nvGrpSpPr>
          <p:cNvPr id="25" name="Group 24"/>
          <p:cNvGrpSpPr/>
          <p:nvPr/>
        </p:nvGrpSpPr>
        <p:grpSpPr>
          <a:xfrm>
            <a:off x="2123728" y="3933056"/>
            <a:ext cx="1150281" cy="958882"/>
            <a:chOff x="2210120" y="4139202"/>
            <a:chExt cx="1150281" cy="958882"/>
          </a:xfrm>
        </p:grpSpPr>
        <p:sp>
          <p:nvSpPr>
            <p:cNvPr id="26" name="Rectangle 25"/>
            <p:cNvSpPr/>
            <p:nvPr/>
          </p:nvSpPr>
          <p:spPr>
            <a:xfrm>
              <a:off x="2210120" y="4697974"/>
              <a:ext cx="1150281" cy="400110"/>
            </a:xfrm>
            <a:prstGeom prst="rect">
              <a:avLst/>
            </a:prstGeom>
            <a:solidFill>
              <a:srgbClr val="37ACC0"/>
            </a:solidFill>
            <a:ln w="3175">
              <a:noFill/>
              <a:prstDash val="solid"/>
            </a:ln>
          </p:spPr>
          <p:txBody>
            <a:bodyPr wrap="square">
              <a:spAutoFit/>
            </a:bodyPr>
            <a:lstStyle/>
            <a:p>
              <a:r>
                <a:rPr lang="en-ZA" sz="1000" dirty="0" smtClean="0">
                  <a:solidFill>
                    <a:srgbClr val="012D50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New </a:t>
              </a:r>
              <a:r>
                <a:rPr lang="en-ZA" sz="1000" dirty="0">
                  <a:solidFill>
                    <a:srgbClr val="012D50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patents: </a:t>
              </a:r>
              <a:r>
                <a:rPr lang="en-ZA" sz="1000" b="1" dirty="0" smtClean="0">
                  <a:solidFill>
                    <a:srgbClr val="FFFFFF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19</a:t>
              </a:r>
            </a:p>
            <a:p>
              <a:pPr algn="ctr"/>
              <a:endPara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endParaRPr>
            </a:p>
          </p:txBody>
        </p:sp>
        <p:pic>
          <p:nvPicPr>
            <p:cNvPr id="28" name="Picture 27" descr="icons_-16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2642168" y="4139202"/>
              <a:ext cx="447361" cy="556802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179387" y="4005064"/>
            <a:ext cx="1872333" cy="886874"/>
            <a:chOff x="179387" y="4211210"/>
            <a:chExt cx="1872333" cy="886874"/>
          </a:xfrm>
        </p:grpSpPr>
        <p:sp>
          <p:nvSpPr>
            <p:cNvPr id="30" name="Rectangle 29"/>
            <p:cNvSpPr/>
            <p:nvPr/>
          </p:nvSpPr>
          <p:spPr>
            <a:xfrm>
              <a:off x="179387" y="4697974"/>
              <a:ext cx="1872333" cy="400110"/>
            </a:xfrm>
            <a:prstGeom prst="rect">
              <a:avLst/>
            </a:prstGeom>
            <a:solidFill>
              <a:srgbClr val="37ACC0"/>
            </a:solidFill>
            <a:ln w="3175">
              <a:noFill/>
              <a:prstDash val="solid"/>
            </a:ln>
          </p:spPr>
          <p:txBody>
            <a:bodyPr wrap="square">
              <a:spAutoFit/>
            </a:bodyPr>
            <a:lstStyle/>
            <a:p>
              <a:r>
                <a:rPr lang="en-ZA" sz="1000" dirty="0">
                  <a:solidFill>
                    <a:srgbClr val="012D50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Publication equivalents: </a:t>
              </a:r>
              <a:r>
                <a:rPr lang="en-ZA" sz="1000" b="1" dirty="0">
                  <a:solidFill>
                    <a:srgbClr val="FFFFFF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546</a:t>
              </a:r>
            </a:p>
            <a:p>
              <a:r>
                <a:rPr lang="en-ZA" sz="1000" dirty="0">
                  <a:solidFill>
                    <a:srgbClr val="012D50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Journal articles: </a:t>
              </a:r>
              <a:r>
                <a:rPr lang="en-ZA" sz="1000" b="1" dirty="0">
                  <a:solidFill>
                    <a:srgbClr val="FFFFFF"/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317</a:t>
              </a:r>
            </a:p>
          </p:txBody>
        </p:sp>
        <p:pic>
          <p:nvPicPr>
            <p:cNvPr id="32" name="Picture 31" descr="icons-20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683568" y="4211210"/>
              <a:ext cx="483421" cy="437776"/>
            </a:xfrm>
            <a:prstGeom prst="rect">
              <a:avLst/>
            </a:prstGeom>
            <a:ln w="3175">
              <a:noFill/>
              <a:prstDash val="sysDot"/>
            </a:ln>
          </p:spPr>
        </p:pic>
      </p:grpSp>
      <p:pic>
        <p:nvPicPr>
          <p:cNvPr id="34" name="Picture 33" descr="icons-14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67544" y="5301208"/>
            <a:ext cx="551290" cy="505397"/>
          </a:xfrm>
          <a:prstGeom prst="rect">
            <a:avLst/>
          </a:prstGeom>
        </p:spPr>
      </p:pic>
      <p:cxnSp>
        <p:nvCxnSpPr>
          <p:cNvPr id="36" name="Straight Connector 35"/>
          <p:cNvCxnSpPr/>
          <p:nvPr/>
        </p:nvCxnSpPr>
        <p:spPr>
          <a:xfrm>
            <a:off x="179512" y="3789040"/>
            <a:ext cx="5688632" cy="0"/>
          </a:xfrm>
          <a:prstGeom prst="line">
            <a:avLst/>
          </a:prstGeom>
          <a:ln w="12700" cmpd="sng">
            <a:solidFill>
              <a:srgbClr val="012D5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17454" y="2420888"/>
            <a:ext cx="6398762" cy="0"/>
          </a:xfrm>
          <a:prstGeom prst="line">
            <a:avLst/>
          </a:prstGeom>
          <a:ln w="12700" cmpd="sng">
            <a:solidFill>
              <a:srgbClr val="012D50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6749031" y="2511769"/>
            <a:ext cx="622695" cy="25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12D50"/>
                </a:solidFill>
                <a:latin typeface="Insignia"/>
                <a:ea typeface="MS PGothic" panose="020B0600070205080204" pitchFamily="34" charset="-128"/>
                <a:cs typeface="Insignia"/>
              </a:rPr>
              <a:t>year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684910" y="2085907"/>
            <a:ext cx="750936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Insignia"/>
                <a:ea typeface="MS PGothic" panose="020B0600070205080204" pitchFamily="34" charset="-128"/>
                <a:cs typeface="Insignia"/>
              </a:rPr>
              <a:t>73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7596336" y="2420888"/>
            <a:ext cx="1534964" cy="0"/>
          </a:xfrm>
          <a:prstGeom prst="line">
            <a:avLst/>
          </a:prstGeom>
          <a:ln w="12700" cmpd="sng">
            <a:solidFill>
              <a:srgbClr val="012D50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4355976" y="5837302"/>
            <a:ext cx="2296624" cy="400110"/>
          </a:xfrm>
          <a:prstGeom prst="rect">
            <a:avLst/>
          </a:prstGeom>
          <a:solidFill>
            <a:srgbClr val="37ACC0"/>
          </a:solidFill>
          <a:ln w="3175" cmpd="sng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ZA" sz="1000" dirty="0" smtClean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Total </a:t>
            </a:r>
            <a:r>
              <a:rPr lang="en-ZA" sz="1000" dirty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investment in HCD: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+ </a:t>
            </a:r>
            <a:r>
              <a:rPr lang="en-ZA" sz="1000" b="1" dirty="0" smtClean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R150 </a:t>
            </a:r>
            <a:r>
              <a:rPr lang="en-ZA" sz="1000" b="1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m</a:t>
            </a:r>
            <a:r>
              <a:rPr lang="en-ZA" sz="1000" dirty="0">
                <a:solidFill>
                  <a:srgbClr val="FFFFF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 </a:t>
            </a:r>
            <a:endParaRPr lang="en-ZA" sz="1000" dirty="0" smtClean="0">
              <a:solidFill>
                <a:srgbClr val="FFFFFF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  <a:p>
            <a:pPr algn="ctr"/>
            <a:r>
              <a:rPr lang="en-ZA" sz="1000" dirty="0" smtClean="0">
                <a:solidFill>
                  <a:srgbClr val="012D50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  </a:t>
            </a:r>
            <a:r>
              <a:rPr lang="en-ZA" sz="1000" b="1" dirty="0" smtClean="0">
                <a:solidFill>
                  <a:srgbClr val="EC6E1F"/>
                </a:solidFill>
                <a:latin typeface="Arial" pitchFamily="34" charset="0"/>
                <a:ea typeface="MS PGothic" panose="020B0600070205080204" pitchFamily="34" charset="-128"/>
                <a:cs typeface="Arial" pitchFamily="34" charset="0"/>
              </a:rPr>
              <a:t> </a:t>
            </a:r>
            <a:endParaRPr lang="en-ZA" sz="1000" b="1" dirty="0">
              <a:solidFill>
                <a:srgbClr val="EC6E1F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5553713" y="2865735"/>
            <a:ext cx="3703806" cy="3011537"/>
            <a:chOff x="5244323" y="2823882"/>
            <a:chExt cx="4013196" cy="3263100"/>
          </a:xfrm>
        </p:grpSpPr>
        <p:pic>
          <p:nvPicPr>
            <p:cNvPr id="43" name="Picture 42" descr="SA map-01-01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5707756" y="2983911"/>
              <a:ext cx="3549763" cy="3103071"/>
            </a:xfrm>
            <a:prstGeom prst="rect">
              <a:avLst/>
            </a:prstGeom>
          </p:spPr>
        </p:pic>
        <p:sp>
          <p:nvSpPr>
            <p:cNvPr id="44" name="Rectangle 43"/>
            <p:cNvSpPr/>
            <p:nvPr/>
          </p:nvSpPr>
          <p:spPr>
            <a:xfrm>
              <a:off x="5244323" y="5376408"/>
              <a:ext cx="948912" cy="253916"/>
            </a:xfrm>
            <a:prstGeom prst="rect">
              <a:avLst/>
            </a:prstGeom>
            <a:solidFill>
              <a:srgbClr val="37ACC0">
                <a:alpha val="84000"/>
              </a:srgbClr>
            </a:solidFill>
          </p:spPr>
          <p:txBody>
            <a:bodyPr wrap="square">
              <a:spAutoFit/>
            </a:bodyPr>
            <a:lstStyle/>
            <a:p>
              <a:pPr defTabSz="914400"/>
              <a:r>
                <a:rPr lang="en-GB" sz="1050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Cape Town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6363572" y="5439300"/>
              <a:ext cx="1076026" cy="253916"/>
            </a:xfrm>
            <a:prstGeom prst="rect">
              <a:avLst/>
            </a:prstGeom>
            <a:solidFill>
              <a:srgbClr val="37ACC0">
                <a:alpha val="84000"/>
              </a:srgbClr>
            </a:solidFill>
          </p:spPr>
          <p:txBody>
            <a:bodyPr wrap="square">
              <a:spAutoFit/>
            </a:bodyPr>
            <a:lstStyle/>
            <a:p>
              <a:pPr defTabSz="914400"/>
              <a:r>
                <a:rPr lang="en-GB" sz="1050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Stellenbosch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7644884" y="5338076"/>
              <a:ext cx="1137166" cy="253916"/>
            </a:xfrm>
            <a:prstGeom prst="rect">
              <a:avLst/>
            </a:prstGeom>
            <a:solidFill>
              <a:srgbClr val="37ACC0">
                <a:alpha val="84000"/>
              </a:srgbClr>
            </a:solidFill>
          </p:spPr>
          <p:txBody>
            <a:bodyPr wrap="square">
              <a:spAutoFit/>
            </a:bodyPr>
            <a:lstStyle/>
            <a:p>
              <a:pPr defTabSz="914400"/>
              <a:r>
                <a:rPr lang="en-GB" sz="1050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Port Elizabeth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8047208" y="4246856"/>
              <a:ext cx="716395" cy="253916"/>
            </a:xfrm>
            <a:prstGeom prst="rect">
              <a:avLst/>
            </a:prstGeom>
            <a:solidFill>
              <a:srgbClr val="37ACC0">
                <a:alpha val="84000"/>
              </a:srgbClr>
            </a:solidFill>
          </p:spPr>
          <p:txBody>
            <a:bodyPr wrap="square">
              <a:spAutoFit/>
            </a:bodyPr>
            <a:lstStyle/>
            <a:p>
              <a:pPr defTabSz="914400"/>
              <a:r>
                <a:rPr lang="en-GB" sz="1050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Durban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972999" y="3515251"/>
              <a:ext cx="1178521" cy="253916"/>
            </a:xfrm>
            <a:prstGeom prst="rect">
              <a:avLst/>
            </a:prstGeom>
            <a:solidFill>
              <a:srgbClr val="37ACC0">
                <a:alpha val="84000"/>
              </a:srgbClr>
            </a:solidFill>
          </p:spPr>
          <p:txBody>
            <a:bodyPr wrap="square">
              <a:spAutoFit/>
            </a:bodyPr>
            <a:lstStyle/>
            <a:p>
              <a:pPr algn="r" defTabSz="914400"/>
              <a:r>
                <a:rPr lang="en-GB" sz="1050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ea typeface="MS PGothic" panose="020B0600070205080204" pitchFamily="34" charset="-128"/>
                  <a:cs typeface="Arial" pitchFamily="34" charset="0"/>
                </a:rPr>
                <a:t>Johannesburg</a:t>
              </a: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8174484" y="3427694"/>
              <a:ext cx="769951" cy="447805"/>
              <a:chOff x="7968661" y="2513229"/>
              <a:chExt cx="769951" cy="447805"/>
            </a:xfrm>
          </p:grpSpPr>
          <p:sp>
            <p:nvSpPr>
              <p:cNvPr id="66" name="Rectangle 65"/>
              <p:cNvSpPr/>
              <p:nvPr/>
            </p:nvSpPr>
            <p:spPr>
              <a:xfrm>
                <a:off x="8004175" y="2513229"/>
                <a:ext cx="734437" cy="253916"/>
              </a:xfrm>
              <a:prstGeom prst="rect">
                <a:avLst/>
              </a:prstGeom>
              <a:solidFill>
                <a:srgbClr val="37ACC0">
                  <a:alpha val="84000"/>
                </a:srgbClr>
              </a:solidFill>
            </p:spPr>
            <p:txBody>
              <a:bodyPr wrap="square">
                <a:spAutoFit/>
              </a:bodyPr>
              <a:lstStyle/>
              <a:p>
                <a:pPr defTabSz="914400"/>
                <a:r>
                  <a:rPr lang="en-GB" sz="1050" dirty="0">
                    <a:solidFill>
                      <a:srgbClr val="1F497D">
                        <a:lumMod val="50000"/>
                      </a:srgbClr>
                    </a:solidFill>
                    <a:latin typeface="Arial" pitchFamily="34" charset="0"/>
                    <a:ea typeface="MS PGothic" panose="020B0600070205080204" pitchFamily="34" charset="-128"/>
                    <a:cs typeface="Arial" pitchFamily="34" charset="0"/>
                  </a:rPr>
                  <a:t>Pretoria</a:t>
                </a:r>
              </a:p>
            </p:txBody>
          </p:sp>
          <p:cxnSp>
            <p:nvCxnSpPr>
              <p:cNvPr id="67" name="Straight Connector 66"/>
              <p:cNvCxnSpPr/>
              <p:nvPr/>
            </p:nvCxnSpPr>
            <p:spPr>
              <a:xfrm>
                <a:off x="8004175" y="2513229"/>
                <a:ext cx="0" cy="412291"/>
              </a:xfrm>
              <a:prstGeom prst="line">
                <a:avLst/>
              </a:prstGeom>
              <a:ln>
                <a:solidFill>
                  <a:srgbClr val="032C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Oval 67"/>
              <p:cNvSpPr/>
              <p:nvPr/>
            </p:nvSpPr>
            <p:spPr>
              <a:xfrm flipV="1">
                <a:off x="7968661" y="2890006"/>
                <a:ext cx="71028" cy="71028"/>
              </a:xfrm>
              <a:prstGeom prst="ellipse">
                <a:avLst/>
              </a:prstGeom>
              <a:solidFill>
                <a:srgbClr val="7E9ED2"/>
              </a:solidFill>
              <a:ln>
                <a:solidFill>
                  <a:srgbClr val="032C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0" name="Group 49"/>
            <p:cNvGrpSpPr/>
            <p:nvPr/>
          </p:nvGrpSpPr>
          <p:grpSpPr>
            <a:xfrm>
              <a:off x="8116006" y="3515251"/>
              <a:ext cx="71028" cy="447805"/>
              <a:chOff x="7947837" y="2719555"/>
              <a:chExt cx="71028" cy="447805"/>
            </a:xfrm>
          </p:grpSpPr>
          <p:cxnSp>
            <p:nvCxnSpPr>
              <p:cNvPr id="64" name="Straight Connector 63"/>
              <p:cNvCxnSpPr/>
              <p:nvPr/>
            </p:nvCxnSpPr>
            <p:spPr>
              <a:xfrm>
                <a:off x="7983351" y="2719555"/>
                <a:ext cx="0" cy="412291"/>
              </a:xfrm>
              <a:prstGeom prst="line">
                <a:avLst/>
              </a:prstGeom>
              <a:ln>
                <a:solidFill>
                  <a:srgbClr val="032C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Oval 64"/>
              <p:cNvSpPr/>
              <p:nvPr/>
            </p:nvSpPr>
            <p:spPr>
              <a:xfrm flipV="1">
                <a:off x="7947837" y="3096332"/>
                <a:ext cx="71028" cy="71028"/>
              </a:xfrm>
              <a:prstGeom prst="ellipse">
                <a:avLst/>
              </a:prstGeom>
              <a:solidFill>
                <a:srgbClr val="7E9ED2"/>
              </a:solidFill>
              <a:ln>
                <a:solidFill>
                  <a:srgbClr val="032C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1" name="Group 50"/>
            <p:cNvGrpSpPr/>
            <p:nvPr/>
          </p:nvGrpSpPr>
          <p:grpSpPr>
            <a:xfrm>
              <a:off x="8728089" y="4244838"/>
              <a:ext cx="71028" cy="447805"/>
              <a:chOff x="8072348" y="2497744"/>
              <a:chExt cx="71028" cy="447805"/>
            </a:xfrm>
          </p:grpSpPr>
          <p:cxnSp>
            <p:nvCxnSpPr>
              <p:cNvPr id="62" name="Straight Connector 61"/>
              <p:cNvCxnSpPr/>
              <p:nvPr/>
            </p:nvCxnSpPr>
            <p:spPr>
              <a:xfrm>
                <a:off x="8107862" y="2497744"/>
                <a:ext cx="0" cy="412291"/>
              </a:xfrm>
              <a:prstGeom prst="line">
                <a:avLst/>
              </a:prstGeom>
              <a:ln>
                <a:solidFill>
                  <a:srgbClr val="032C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Oval 62"/>
              <p:cNvSpPr/>
              <p:nvPr/>
            </p:nvSpPr>
            <p:spPr>
              <a:xfrm flipV="1">
                <a:off x="8072348" y="2874521"/>
                <a:ext cx="71028" cy="71028"/>
              </a:xfrm>
              <a:prstGeom prst="ellipse">
                <a:avLst/>
              </a:prstGeom>
              <a:solidFill>
                <a:srgbClr val="7E9ED2"/>
              </a:solidFill>
              <a:ln>
                <a:solidFill>
                  <a:srgbClr val="032C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7600489" y="5336928"/>
              <a:ext cx="71028" cy="447805"/>
              <a:chOff x="7897836" y="2812720"/>
              <a:chExt cx="71028" cy="447805"/>
            </a:xfrm>
          </p:grpSpPr>
          <p:cxnSp>
            <p:nvCxnSpPr>
              <p:cNvPr id="60" name="Straight Connector 59"/>
              <p:cNvCxnSpPr/>
              <p:nvPr/>
            </p:nvCxnSpPr>
            <p:spPr>
              <a:xfrm>
                <a:off x="7933350" y="2812720"/>
                <a:ext cx="0" cy="412291"/>
              </a:xfrm>
              <a:prstGeom prst="line">
                <a:avLst/>
              </a:prstGeom>
              <a:ln>
                <a:solidFill>
                  <a:srgbClr val="032C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0"/>
              <p:cNvSpPr/>
              <p:nvPr/>
            </p:nvSpPr>
            <p:spPr>
              <a:xfrm flipV="1">
                <a:off x="7897836" y="3189497"/>
                <a:ext cx="71028" cy="71028"/>
              </a:xfrm>
              <a:prstGeom prst="ellipse">
                <a:avLst/>
              </a:prstGeom>
              <a:solidFill>
                <a:srgbClr val="7E9ED2"/>
              </a:solidFill>
              <a:ln>
                <a:solidFill>
                  <a:srgbClr val="032C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6157721" y="5376474"/>
              <a:ext cx="71028" cy="447805"/>
              <a:chOff x="7897836" y="2812720"/>
              <a:chExt cx="71028" cy="447805"/>
            </a:xfrm>
          </p:grpSpPr>
          <p:cxnSp>
            <p:nvCxnSpPr>
              <p:cNvPr id="58" name="Straight Connector 57"/>
              <p:cNvCxnSpPr/>
              <p:nvPr/>
            </p:nvCxnSpPr>
            <p:spPr>
              <a:xfrm>
                <a:off x="7933350" y="2812720"/>
                <a:ext cx="0" cy="412291"/>
              </a:xfrm>
              <a:prstGeom prst="line">
                <a:avLst/>
              </a:prstGeom>
              <a:ln>
                <a:solidFill>
                  <a:srgbClr val="032C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Oval 58"/>
              <p:cNvSpPr/>
              <p:nvPr/>
            </p:nvSpPr>
            <p:spPr>
              <a:xfrm flipV="1">
                <a:off x="7897836" y="3189497"/>
                <a:ext cx="71028" cy="71028"/>
              </a:xfrm>
              <a:prstGeom prst="ellipse">
                <a:avLst/>
              </a:prstGeom>
              <a:solidFill>
                <a:srgbClr val="7E9ED2"/>
              </a:solidFill>
              <a:ln>
                <a:solidFill>
                  <a:srgbClr val="032C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6328058" y="5439300"/>
              <a:ext cx="71028" cy="447805"/>
              <a:chOff x="7897836" y="2812720"/>
              <a:chExt cx="71028" cy="447805"/>
            </a:xfrm>
          </p:grpSpPr>
          <p:cxnSp>
            <p:nvCxnSpPr>
              <p:cNvPr id="56" name="Straight Connector 55"/>
              <p:cNvCxnSpPr/>
              <p:nvPr/>
            </p:nvCxnSpPr>
            <p:spPr>
              <a:xfrm>
                <a:off x="7933350" y="2812720"/>
                <a:ext cx="0" cy="412291"/>
              </a:xfrm>
              <a:prstGeom prst="line">
                <a:avLst/>
              </a:prstGeom>
              <a:ln>
                <a:solidFill>
                  <a:srgbClr val="032C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Oval 56"/>
              <p:cNvSpPr/>
              <p:nvPr/>
            </p:nvSpPr>
            <p:spPr>
              <a:xfrm flipV="1">
                <a:off x="7897836" y="3189497"/>
                <a:ext cx="71028" cy="71028"/>
              </a:xfrm>
              <a:prstGeom prst="ellipse">
                <a:avLst/>
              </a:prstGeom>
              <a:solidFill>
                <a:srgbClr val="7E9ED2"/>
              </a:solidFill>
              <a:ln>
                <a:solidFill>
                  <a:srgbClr val="032C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5" name="Rectangle 54"/>
            <p:cNvSpPr/>
            <p:nvPr/>
          </p:nvSpPr>
          <p:spPr>
            <a:xfrm>
              <a:off x="6111482" y="2823882"/>
              <a:ext cx="1502136" cy="14217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lnSpc>
                  <a:spcPct val="70000"/>
                </a:lnSpc>
              </a:pPr>
              <a:r>
                <a:rPr lang="en-ZA" sz="130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945 - 2018</a:t>
              </a:r>
            </a:p>
          </p:txBody>
        </p:sp>
      </p:grpSp>
      <p:pic>
        <p:nvPicPr>
          <p:cNvPr id="70" name="Picture 69" descr="icons-18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60032" y="5445224"/>
            <a:ext cx="576064" cy="359767"/>
          </a:xfrm>
          <a:prstGeom prst="rect">
            <a:avLst/>
          </a:prstGeom>
        </p:spPr>
      </p:pic>
      <p:cxnSp>
        <p:nvCxnSpPr>
          <p:cNvPr id="71" name="Straight Connector 70"/>
          <p:cNvCxnSpPr/>
          <p:nvPr/>
        </p:nvCxnSpPr>
        <p:spPr>
          <a:xfrm>
            <a:off x="179512" y="4941168"/>
            <a:ext cx="5688632" cy="0"/>
          </a:xfrm>
          <a:prstGeom prst="line">
            <a:avLst/>
          </a:prstGeom>
          <a:ln w="12700" cmpd="sng">
            <a:solidFill>
              <a:srgbClr val="012D5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2372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-36512" y="4437112"/>
            <a:ext cx="7344816" cy="151216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-36512" y="2996952"/>
            <a:ext cx="9180512" cy="144016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-36512" y="1772816"/>
            <a:ext cx="9180512" cy="122413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19915869"/>
              </p:ext>
            </p:extLst>
          </p:nvPr>
        </p:nvGraphicFramePr>
        <p:xfrm>
          <a:off x="322344" y="1916832"/>
          <a:ext cx="7634032" cy="40111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01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439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88008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 and transform human capita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400" b="1" dirty="0" smtClean="0">
                          <a:solidFill>
                            <a:srgbClr val="032C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highly skilled, diverse skills workfor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 smtClean="0">
                          <a:solidFill>
                            <a:srgbClr val="032C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lining national economic outlook – declining CSIR income – budget constraints to recruit and appoi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 smtClean="0">
                          <a:solidFill>
                            <a:srgbClr val="032C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young workforce also means a mobile workforce</a:t>
                      </a:r>
                      <a:endParaRPr lang="en-GB" sz="1400" b="0" dirty="0" smtClean="0">
                        <a:solidFill>
                          <a:srgbClr val="032C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8729">
                <a:tc gridSpan="2"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62040">
                <a:tc>
                  <a:txBody>
                    <a:bodyPr/>
                    <a:lstStyle/>
                    <a:p>
                      <a:r>
                        <a:rPr lang="en-ZA" sz="1400" b="1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duct high-quality and relevant research and technological innovation to foster industrial and scientific development</a:t>
                      </a:r>
                      <a:endParaRPr lang="en-US" sz="1400" b="1" dirty="0">
                        <a:solidFill>
                          <a:srgbClr val="17375E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sz="1400" b="1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&amp;D with national impact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ZA" sz="140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ding</a:t>
                      </a:r>
                      <a:r>
                        <a:rPr lang="en-ZA" sz="1400" baseline="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p</a:t>
                      </a:r>
                      <a:r>
                        <a:rPr lang="en-ZA" sz="140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orities of government, provinces and metros</a:t>
                      </a:r>
                    </a:p>
                    <a:p>
                      <a:pPr marL="263525" indent="-263525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call to amplify CSIR contribution to industrial developm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8729">
                <a:tc gridSpan="2"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7754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tain a financially sustainable and well-governed organis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ZA" sz="1400" b="1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tain the CSIR legacy of good corporate</a:t>
                      </a:r>
                      <a:r>
                        <a:rPr lang="en-ZA" sz="1400" b="1" baseline="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400" b="1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nce and operate in a sustainable manner</a:t>
                      </a:r>
                    </a:p>
                    <a:p>
                      <a:pPr marL="269875" indent="-269875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ly</a:t>
                      </a:r>
                      <a:r>
                        <a:rPr lang="en-ZA" sz="1400" baseline="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nstrained fiscal environment</a:t>
                      </a:r>
                    </a:p>
                    <a:p>
                      <a:pPr marL="269875" indent="-269875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 smtClean="0">
                          <a:solidFill>
                            <a:srgbClr val="17375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ng in an increasingly challenging and complex regulatory environment</a:t>
                      </a:r>
                      <a:endParaRPr lang="en-ZA" sz="1400" dirty="0" smtClean="0">
                        <a:solidFill>
                          <a:srgbClr val="17375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323850" y="476672"/>
            <a:ext cx="8761744" cy="63023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defRPr/>
            </a:pPr>
            <a:r>
              <a:rPr lang="en-ZA" dirty="0" smtClean="0">
                <a:solidFill>
                  <a:sysClr val="window" lastClr="FFFFFF"/>
                </a:solidFill>
              </a:rPr>
              <a:t>Strategic objectives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-36512" y="2996952"/>
            <a:ext cx="7992888" cy="0"/>
          </a:xfrm>
          <a:prstGeom prst="line">
            <a:avLst/>
          </a:prstGeom>
          <a:ln w="12700" cmpd="sng">
            <a:solidFill>
              <a:schemeClr val="bg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-36512" y="4437112"/>
            <a:ext cx="7992888" cy="0"/>
          </a:xfrm>
          <a:prstGeom prst="line">
            <a:avLst/>
          </a:prstGeom>
          <a:ln w="12700" cmpd="sng">
            <a:solidFill>
              <a:schemeClr val="bg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-36512" y="5949280"/>
            <a:ext cx="7992888" cy="0"/>
          </a:xfrm>
          <a:prstGeom prst="line">
            <a:avLst/>
          </a:prstGeom>
          <a:ln w="12700" cmpd="sng">
            <a:solidFill>
              <a:schemeClr val="bg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921662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739092" y="2492896"/>
            <a:ext cx="5486400" cy="2483461"/>
          </a:xfrm>
          <a:prstGeom prst="rect">
            <a:avLst/>
          </a:prstGeom>
        </p:spPr>
      </p:pic>
      <p:sp>
        <p:nvSpPr>
          <p:cNvPr id="5" name="Title 2"/>
          <p:cNvSpPr txBox="1">
            <a:spLocks/>
          </p:cNvSpPr>
          <p:nvPr/>
        </p:nvSpPr>
        <p:spPr>
          <a:xfrm>
            <a:off x="382256" y="5013176"/>
            <a:ext cx="8761744" cy="63023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en-ZA" dirty="0" smtClean="0">
                <a:solidFill>
                  <a:schemeClr val="tx2">
                    <a:lumMod val="75000"/>
                  </a:schemeClr>
                </a:solidFill>
              </a:rPr>
              <a:t>Connecting innovation to industry</a:t>
            </a:r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323850" y="476672"/>
            <a:ext cx="8761744" cy="63023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defRPr/>
            </a:pPr>
            <a:r>
              <a:rPr lang="en-ZA" dirty="0" smtClean="0">
                <a:solidFill>
                  <a:sysClr val="window" lastClr="FFFFFF"/>
                </a:solidFill>
              </a:rPr>
              <a:t>Project Synapse</a:t>
            </a:r>
          </a:p>
        </p:txBody>
      </p:sp>
    </p:spTree>
    <p:extLst>
      <p:ext uri="{BB962C8B-B14F-4D97-AF65-F5344CB8AC3E}">
        <p14:creationId xmlns:p14="http://schemas.microsoft.com/office/powerpoint/2010/main" xmlns="" val="2382835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7572" y="3573016"/>
            <a:ext cx="7561262" cy="523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57200">
              <a:defRPr/>
            </a:pPr>
            <a:r>
              <a:rPr lang="en-ZA" sz="2800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ZA" b="1" dirty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21"/>
          <p:cNvSpPr txBox="1">
            <a:spLocks noChangeArrowheads="1"/>
          </p:cNvSpPr>
          <p:nvPr/>
        </p:nvSpPr>
        <p:spPr bwMode="auto">
          <a:xfrm>
            <a:off x="1979712" y="2924944"/>
            <a:ext cx="496855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defTabSz="457200" eaLnBrk="1" hangingPunct="1"/>
            <a:r>
              <a:rPr lang="en-ZA" sz="3600" b="1" dirty="0" smtClean="0">
                <a:solidFill>
                  <a:srgbClr val="F2F2F2"/>
                </a:solidFill>
                <a:latin typeface="Arial" charset="0"/>
              </a:rPr>
              <a:t>Key performance</a:t>
            </a:r>
          </a:p>
          <a:p>
            <a:pPr algn="ctr" defTabSz="457200" eaLnBrk="1" hangingPunct="1"/>
            <a:r>
              <a:rPr lang="en-ZA" sz="3600" b="1" dirty="0" smtClean="0">
                <a:solidFill>
                  <a:srgbClr val="F2F2F2"/>
                </a:solidFill>
                <a:latin typeface="Arial" charset="0"/>
              </a:rPr>
              <a:t>indicators</a:t>
            </a:r>
          </a:p>
        </p:txBody>
      </p:sp>
    </p:spTree>
    <p:extLst>
      <p:ext uri="{BB962C8B-B14F-4D97-AF65-F5344CB8AC3E}">
        <p14:creationId xmlns:p14="http://schemas.microsoft.com/office/powerpoint/2010/main" xmlns="" val="11590403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gallery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E3EDAF4E-A638-4648-9F9E-64F64031F878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08" name="think-cell Slide" r:id="rId5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5F976A9B-8B03-449F-9CBD-28231004D6E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prstClr val="white"/>
              </a:buClr>
              <a:buSzPct val="100000"/>
            </a:pPr>
            <a:endParaRPr lang="en-GB" sz="1000" b="1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69" name="Table 1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50611799"/>
              </p:ext>
            </p:extLst>
          </p:nvPr>
        </p:nvGraphicFramePr>
        <p:xfrm>
          <a:off x="1044078" y="2599537"/>
          <a:ext cx="7200330" cy="2346960"/>
        </p:xfrm>
        <a:graphic>
          <a:graphicData uri="http://schemas.openxmlformats.org/drawingml/2006/table">
            <a:tbl>
              <a:tblPr firstRow="1" bandRow="1"/>
              <a:tblGrid>
                <a:gridCol w="17108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971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9088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trategic objective</a:t>
                      </a:r>
                      <a:endParaRPr lang="en-GB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ey performance indicator</a:t>
                      </a:r>
                      <a:endParaRPr lang="en-GB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7/18 </a:t>
                      </a:r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rget</a:t>
                      </a:r>
                      <a:endParaRPr lang="en-GB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17/18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ZA" sz="14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ctual</a:t>
                      </a:r>
                      <a:endParaRPr lang="en-GB" sz="14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AC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9080">
                <a:tc rowSpan="6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ZA" sz="14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Perform relevant research and development</a:t>
                      </a:r>
                      <a:endParaRPr lang="en-GB" sz="14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Publication equivalents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4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0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en-US" sz="14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≥ 500</a:t>
                      </a:r>
                    </a:p>
                  </a:txBody>
                  <a:tcPr marL="91442" marR="91442" marT="45712" marB="45712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4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0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ZA" altLang="en-US" sz="1400" b="1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46</a:t>
                      </a:r>
                      <a:endParaRPr lang="en-GB" altLang="en-US" sz="1400" b="1" kern="1200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2" marR="91442" marT="45712" marB="45712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908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Journal</a:t>
                      </a:r>
                      <a:r>
                        <a:rPr lang="en-ZA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articles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en-US" sz="14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≥</a:t>
                      </a:r>
                      <a:r>
                        <a:rPr lang="en-GB" altLang="en-US" sz="14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GB" altLang="en-US" sz="14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10</a:t>
                      </a:r>
                    </a:p>
                  </a:txBody>
                  <a:tcPr marL="91442" marR="91442" marT="45712" marB="45712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ZA" altLang="en-US" sz="1400" b="1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17</a:t>
                      </a:r>
                      <a:endParaRPr lang="en-GB" altLang="en-US" sz="1400" b="1" kern="1200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2" marR="91442" marT="45712" marB="45712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9080">
                <a:tc v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ew technology demonstrators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4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0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en-US" sz="14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≥</a:t>
                      </a:r>
                      <a:r>
                        <a:rPr lang="en-GB" altLang="en-US" sz="14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4</a:t>
                      </a:r>
                      <a:r>
                        <a:rPr lang="en-GB" altLang="en-US" sz="14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</a:t>
                      </a:r>
                    </a:p>
                  </a:txBody>
                  <a:tcPr marL="91442" marR="91442" marT="45712" marB="45712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4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20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algn="l" defTabSz="457200" rtl="0" eaLnBrk="0" latinLnBrk="0" hangingPunct="0">
                        <a:spcBef>
                          <a:spcPct val="20000"/>
                        </a:spcBef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defTabSz="4572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ZA" altLang="en-US" sz="1400" b="1" kern="12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0</a:t>
                      </a:r>
                      <a:endParaRPr lang="en-GB" altLang="en-US" sz="1400" b="1" kern="1200" dirty="0" smtClean="0">
                        <a:solidFill>
                          <a:schemeClr val="bg1">
                            <a:lumMod val="9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2" marR="91442" marT="45712" marB="45712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9080">
                <a:tc vMerge="1"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New patents granted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≥ 15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9</a:t>
                      </a:r>
                      <a:endParaRPr lang="en-GB" sz="1400" b="1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59080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Contract R&amp;D income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≥ </a:t>
                      </a:r>
                      <a:r>
                        <a:rPr lang="en-GB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R2 128</a:t>
                      </a:r>
                      <a:r>
                        <a:rPr lang="en-GB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 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R</a:t>
                      </a:r>
                      <a:r>
                        <a:rPr lang="en-GB" sz="1400" b="1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 771 m</a:t>
                      </a:r>
                      <a:endParaRPr lang="en-GB" sz="1400" b="1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9080">
                <a:tc vMerge="1">
                  <a:txBody>
                    <a:bodyPr/>
                    <a:lstStyle/>
                    <a:p>
                      <a:endParaRPr lang="en-GB" sz="1100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Royalty and licence income 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≥ </a:t>
                      </a:r>
                      <a:r>
                        <a:rPr lang="en-GB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R5.17</a:t>
                      </a:r>
                      <a:r>
                        <a:rPr lang="en-GB" sz="14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m </a:t>
                      </a:r>
                      <a:endParaRPr lang="en-GB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4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R4.6 m </a:t>
                      </a:r>
                      <a:endParaRPr lang="en-GB" sz="1400" b="1" dirty="0">
                        <a:solidFill>
                          <a:schemeClr val="bg1">
                            <a:lumMod val="9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77" name="Rectangle 176"/>
          <p:cNvSpPr/>
          <p:nvPr/>
        </p:nvSpPr>
        <p:spPr>
          <a:xfrm>
            <a:off x="1044078" y="2193509"/>
            <a:ext cx="3238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srgbClr val="37ACC0"/>
                </a:solidFill>
                <a:latin typeface="Arial" pitchFamily="34" charset="0"/>
                <a:cs typeface="Arial" pitchFamily="34" charset="0"/>
              </a:rPr>
              <a:t>SCIENTIFIC AND TECHNICAL</a:t>
            </a:r>
            <a:endParaRPr lang="en-GB" sz="1600" dirty="0">
              <a:solidFill>
                <a:srgbClr val="37AC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67544" y="187743"/>
            <a:ext cx="46805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erformance indicators </a:t>
            </a:r>
            <a:r>
              <a:rPr lang="en-US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US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lance</a:t>
            </a:r>
          </a:p>
        </p:txBody>
      </p:sp>
    </p:spTree>
    <p:extLst>
      <p:ext uri="{BB962C8B-B14F-4D97-AF65-F5344CB8AC3E}">
        <p14:creationId xmlns:p14="http://schemas.microsoft.com/office/powerpoint/2010/main" xmlns="" val="1591403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ufC.3TPmQEsoTg4Bf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utRuCuR7.V5HRIop9U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9NTjqwSGaUxqDN89tnS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ctz_B5T1mCRkOry0..g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5dcf5kRPSCzUCz_JBwl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p6rV1R3mlVbgQOIf9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.VLTUcQMO3fBk4UhMk7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sHmcuFQiKSoclOMx1Cg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aVek5PT56Sgrdm2v0R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Wq0kXUR0urT9ztAaI7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yMczmkReGwO76YzotnP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64DAqRTW7zghVvZDT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NPC2nwRm27XitJKxT1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UfRdPPT8utfbEh5z1tv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VxglN6T9Wse2OWzHso9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RWYstTx60vav4lSCnG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XAyilhRuCt9U6TKLeUt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9Guu.8ToC5FTE2gdbI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JdxuZ8Q0CAED9FGNWQ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Yr.RtLQXGRvJxQo.lxC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CRRsciSzWPMMW04U6G9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uMI2.ATYWgcEHoIz7f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Ed6O2JTv6q1h0u7lQ2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oWPicSP2wEGoBF5LT6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jkbk9SS5GeaTy5D74c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E__FdTHqohgkvwbzY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H3Eu8TSp6Dagwyq5Ol1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kZbOVWTx2VfUH2EyW64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F76Jk3QB.wF7sdEW960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3gWkysTK2M41s_0slO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2NSLGHTsOH1FwQ0D75N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oBTG8LQoqNxoz3MdPM0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pgQzzSQB2kHyNmNykhp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0885z9T3SSaN102a90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k0vkHSOyfFnyvr2G2v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tOc9G5SCmQwM1tpM95z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JhacNnQ2..ZUV3Kbx1P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1oZGhJRw.63fR0R7fjp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ad6GUcSv6NVATA07t22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KgI6A8Qkq7z0RX4GGbR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1WWQOSQdmCxlylYHen1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FKk7uMRpytpP2jiH430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42Gs2GQPaxjWXdlKub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JtXmFwRfy0tK6joTiKu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X2ss8TTh.1kP8zcXPJ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rDxs.zSU6vdUP28d90D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oUUPEqR7mfV4IkLyhN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.wi1xoS6yOGdrY_0dLD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3DVL4AQ_642jasf29hC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i4W7oxTTCxd3wQ8vuVR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E4I4uORvaPQfM3p5XQ.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JPCCz_REGejV4_LXhUE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qqm8BDQEGEd.jdxeKtq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8.D8VYQLaDlIL0qDUP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fik9xTRAmD5Iy.JG7k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ryQf3PRHO_9LpOAQx9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IDcf_WTCm2DkCX8eQw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5CA3B5TUiwvrz.0l.9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28OGV8Th.5WnLCiGWq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ufC.3TPmQEsoTg4Bf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7.vCZDQxisg0.ndVaK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9yDPFATz2FQ_y4OVmf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Yqx2uQTzO.kfpe_83Q2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f.BxYkTWeCa1kdP0Gw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FmryVzQPqvKdnnpYro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aF49oTlCSKQESXKB_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T5itakRMGS2crc_5H5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XgQptRQFSwRn2184MR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s634RPSnq_i4XFMceI.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Dd9OZISCGwGeT0qM0e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ufC.3TPmQEsoTg4Bf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s97HiTTqy4X1vdXtYk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RSBsrkSSSGl..RuF9M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l6JVXCSy.e3MFgD0Jf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xfEPnHRWSjewc5NbIp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yPLs8zT9y_Olz0lrCs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qWx.pzTkO8V3S5bB.d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RyU1IWQuCzWdLBXi10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SyySj6SLS1dtLTdeig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8W845_SAmpdQhlwTodZ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Rs_du.QCOzmOJ3Wfj5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yCWkjwRQWWaJOfd6UR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U2bZDWR_CcpAwoWPYb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0WWuQ0QnSo3wn6eYqR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9dvP85QxCY_A9AdItP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jensMJSZSkMHer.FSF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HxmliRS7ijZzZQPMqc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8BRY.RRLWvRMLt1tzI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pnQ7xsQEmE1.RUVtJm2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crApwuS4u6.l_osqD1B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ZGKT64QjGVKTxWgeWI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ndqEtyQXujpU36uTIw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elgY3SliwzP1Oz4rbb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qmgR0QCy8KRsQIPBmW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4IJz7SRZ28fpl8BOk2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YehB8uRO6EWILN8Epj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XmFDjVRVqjMGWjyW0i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Hx7kY.TqaeaIi5C1qx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gOiKCCQ.mXYtRJPcEJ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5WE_idRoambugOal1C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6rN5gXTJmc0Jf2QIKl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GgNzqtSTOESoXsnvsH0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.pi0LQ.KW6QnlxfDS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6PGDmQTpeBTwXaRMbRf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ymsahvRpWXnCMNvROa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O0T2BLRx2WeKGlIzS2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tG6noRQq28HjcBx7T7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NwOw53SHy539xhEPgL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DSBZZ_SvqHYJPxJPko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BdRk1CQLivS9CCkSFx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NHsAlzS.OOmsLEYsmX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jQQlbmRzq_gkafIkqK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yRiitaRJar3XSHAK7c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6Zo1yTQRa7zKYcMsJj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xO9CRRHiiB.1AhsDb4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ZASAKbT6qykPaYhomB7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PpWk3ZQnmKheM.uBzz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QvdGNxQeqBMwfe7mtq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ys6NBFS4GoRalAycjSh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xClW_wSp.LAc055OBO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Uc7kmGQECiKdVDn1leZ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E_qydxREuQg7cIInfEF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C9whRbSzeoTnh3kX32g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blV9DSQnuEXvvCNj8G.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4Q6__zRkq9vT8oM6gB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ggM.f3QIew50AJWLLyf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TfK6EsSx.X1.YoeXnb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l1IBa3Qgq9Zc_7reOK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6463L1S6aGYG3ro4lgE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SvhRmWSnqWezYTAqo6N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.LHmfTQwSpM_t7sOf7M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6TNdXSKS2nxwPKSMN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Onr6GuTIShj7RJP4CT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lNoku8R4OSdcCnc.3xp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h2a.szQ6a6rUUVbTR._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262YJYTYylcDjYkv8q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pkrWQ_QHqm0MEqT8ef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.hrMnnQgu4413IMwg1b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Wt62FFQaGlg178Vsvu5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KvFlLQIKHTxo0cR6x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eBeEO2TNWnw_MIPgcDj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EVcHSjTOmuaqK8CXcKi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r0l9meR4GqYmHbW6xHb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CZrEhzTiWg7EZRBgfK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b7NDVQXinYoIfVsdzj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EMyME0Q.GSULh2gqjuQ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JXeJ6GSrCAFLtNHu4mvg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83</TotalTime>
  <Words>2699</Words>
  <Application>Microsoft Office PowerPoint</Application>
  <PresentationFormat>On-screen Show (4:3)</PresentationFormat>
  <Paragraphs>510</Paragraphs>
  <Slides>28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2_Office Theme</vt:lpstr>
      <vt:lpstr>3_Office Theme</vt:lpstr>
      <vt:lpstr>Custom Design</vt:lpstr>
      <vt:lpstr>4_Office Theme</vt:lpstr>
      <vt:lpstr>5_Office Theme</vt:lpstr>
      <vt:lpstr>7_Office Theme</vt:lpstr>
      <vt:lpstr>6_Office Theme</vt:lpstr>
      <vt:lpstr>think-cell Slide</vt:lpstr>
      <vt:lpstr>Chart</vt:lpstr>
      <vt:lpstr>Slide 1</vt:lpstr>
      <vt:lpstr>Contents </vt:lpstr>
      <vt:lpstr>Chairman’s overview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Build and transform human capital</vt:lpstr>
      <vt:lpstr>Build and transform human capital</vt:lpstr>
      <vt:lpstr>Slide 15</vt:lpstr>
      <vt:lpstr>Financial and governance</vt:lpstr>
      <vt:lpstr>Financial and governance</vt:lpstr>
      <vt:lpstr>Financial and governance</vt:lpstr>
      <vt:lpstr>Financial and governance Audit report matters</vt:lpstr>
      <vt:lpstr>Health and safety </vt:lpstr>
      <vt:lpstr>Broad-Based Black Economic Empowerment</vt:lpstr>
      <vt:lpstr>Research to foster industrial development</vt:lpstr>
      <vt:lpstr>Research to foster industrial development</vt:lpstr>
      <vt:lpstr>Research to foster industrial development</vt:lpstr>
      <vt:lpstr>Slide 25</vt:lpstr>
      <vt:lpstr>Infrastructure renewal and development</vt:lpstr>
      <vt:lpstr>The Campus Master Plan</vt:lpstr>
      <vt:lpstr>Slide 28</vt:lpstr>
    </vt:vector>
  </TitlesOfParts>
  <Company>CSI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dumiso Cingo</dc:creator>
  <cp:lastModifiedBy>PUMZA</cp:lastModifiedBy>
  <cp:revision>405</cp:revision>
  <dcterms:created xsi:type="dcterms:W3CDTF">2018-07-05T10:54:25Z</dcterms:created>
  <dcterms:modified xsi:type="dcterms:W3CDTF">2018-10-15T13:28:01Z</dcterms:modified>
</cp:coreProperties>
</file>